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6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8" r:id="rId2"/>
    <p:sldMasterId id="2147483692" r:id="rId3"/>
    <p:sldMasterId id="2147483704" r:id="rId4"/>
    <p:sldMasterId id="2147483718" r:id="rId5"/>
    <p:sldMasterId id="2147483756" r:id="rId6"/>
  </p:sldMasterIdLst>
  <p:notesMasterIdLst>
    <p:notesMasterId r:id="rId29"/>
  </p:notesMasterIdLst>
  <p:handoutMasterIdLst>
    <p:handoutMasterId r:id="rId30"/>
  </p:handoutMasterIdLst>
  <p:sldIdLst>
    <p:sldId id="259" r:id="rId7"/>
    <p:sldId id="261" r:id="rId8"/>
    <p:sldId id="263" r:id="rId9"/>
    <p:sldId id="262" r:id="rId10"/>
    <p:sldId id="260" r:id="rId11"/>
    <p:sldId id="264" r:id="rId12"/>
    <p:sldId id="257" r:id="rId13"/>
    <p:sldId id="274" r:id="rId14"/>
    <p:sldId id="265" r:id="rId15"/>
    <p:sldId id="267" r:id="rId16"/>
    <p:sldId id="268" r:id="rId17"/>
    <p:sldId id="281" r:id="rId18"/>
    <p:sldId id="269" r:id="rId19"/>
    <p:sldId id="275" r:id="rId20"/>
    <p:sldId id="270" r:id="rId21"/>
    <p:sldId id="271" r:id="rId22"/>
    <p:sldId id="272" r:id="rId23"/>
    <p:sldId id="276" r:id="rId24"/>
    <p:sldId id="278" r:id="rId25"/>
    <p:sldId id="273" r:id="rId26"/>
    <p:sldId id="279" r:id="rId27"/>
    <p:sldId id="280" r:id="rId28"/>
  </p:sldIdLst>
  <p:sldSz cx="9144000" cy="6858000" type="screen4x3"/>
  <p:notesSz cx="7053263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4" d="100"/>
          <a:sy n="84" d="100"/>
        </p:scale>
        <p:origin x="1426" y="115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หัวกระดาษ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7072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th-TH"/>
          </a:p>
        </p:txBody>
      </p:sp>
      <p:sp>
        <p:nvSpPr>
          <p:cNvPr id="3" name="ตัวแทนวันที่ 2"/>
          <p:cNvSpPr>
            <a:spLocks noGrp="1"/>
          </p:cNvSpPr>
          <p:nvPr>
            <p:ph type="dt" sz="quarter" idx="1"/>
          </p:nvPr>
        </p:nvSpPr>
        <p:spPr>
          <a:xfrm>
            <a:off x="3995217" y="0"/>
            <a:ext cx="3056414" cy="467072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28B622DA-2C24-4219-A1C3-04306683B215}" type="datetimeFigureOut">
              <a:rPr lang="th-TH" smtClean="0"/>
              <a:t>06/03/62</a:t>
            </a:fld>
            <a:endParaRPr lang="th-TH"/>
          </a:p>
        </p:txBody>
      </p:sp>
      <p:sp>
        <p:nvSpPr>
          <p:cNvPr id="4" name="ตัวแทนท้ายกระดาษ 3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56414" cy="467071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th-TH"/>
          </a:p>
        </p:txBody>
      </p:sp>
      <p:sp>
        <p:nvSpPr>
          <p:cNvPr id="5" name="ตัวแทนหมายเลขสไลด์ 4"/>
          <p:cNvSpPr>
            <a:spLocks noGrp="1"/>
          </p:cNvSpPr>
          <p:nvPr>
            <p:ph type="sldNum" sz="quarter" idx="3"/>
          </p:nvPr>
        </p:nvSpPr>
        <p:spPr>
          <a:xfrm>
            <a:off x="3995217" y="8842030"/>
            <a:ext cx="3056414" cy="467071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323FA424-632E-4359-8A94-E13763EA051E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8292146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/>
          <a:lstStyle>
            <a:lvl1pPr algn="r">
              <a:defRPr sz="1200"/>
            </a:lvl1pPr>
          </a:lstStyle>
          <a:p>
            <a:fld id="{3F7C3569-5251-4627-8F13-FC141FCB03B8}" type="datetimeFigureOut">
              <a:rPr lang="en-US" smtClean="0"/>
              <a:t>3/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97" tIns="46749" rIns="93497" bIns="4674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5327" y="4421823"/>
            <a:ext cx="5642610" cy="4189095"/>
          </a:xfrm>
          <a:prstGeom prst="rect">
            <a:avLst/>
          </a:prstGeom>
        </p:spPr>
        <p:txBody>
          <a:bodyPr vert="horz" lIns="93497" tIns="46749" rIns="93497" bIns="4674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95217" y="8842029"/>
            <a:ext cx="3056414" cy="465455"/>
          </a:xfrm>
          <a:prstGeom prst="rect">
            <a:avLst/>
          </a:prstGeom>
        </p:spPr>
        <p:txBody>
          <a:bodyPr vert="horz" lIns="93497" tIns="46749" rIns="93497" bIns="46749" rtlCol="0" anchor="b"/>
          <a:lstStyle>
            <a:lvl1pPr algn="r">
              <a:defRPr sz="1200"/>
            </a:lvl1pPr>
          </a:lstStyle>
          <a:p>
            <a:fld id="{A9204903-C5DE-4564-862D-00D14E1539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4320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ตัวยึดรูปบนภาพนิ่ง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200150" y="698500"/>
            <a:ext cx="4656138" cy="3490913"/>
          </a:xfrm>
          <a:ln/>
        </p:spPr>
      </p:sp>
      <p:sp>
        <p:nvSpPr>
          <p:cNvPr id="177155" name="ตัวยึดบันทึกย่อ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th-TH" altLang="en-US" b="1" u="sng" dirty="0" smtClean="0"/>
              <a:t>แผ่นที่ 8</a:t>
            </a:r>
            <a:r>
              <a:rPr lang="th-TH" altLang="en-US" dirty="0" smtClean="0"/>
              <a:t> อีกทั้งเมื่อวิเคราะห์สภาวะแวดล้อมภายนอกและภายใน เพื่อทำ </a:t>
            </a:r>
            <a:r>
              <a:rPr lang="en-US" altLang="en-US" dirty="0" smtClean="0"/>
              <a:t>SWOT</a:t>
            </a:r>
            <a:r>
              <a:rPr lang="th-TH" altLang="en-US" dirty="0" smtClean="0"/>
              <a:t> </a:t>
            </a:r>
            <a:r>
              <a:rPr lang="en-US" altLang="en-US" dirty="0" smtClean="0"/>
              <a:t>Analysis</a:t>
            </a:r>
            <a:r>
              <a:rPr lang="th-TH" altLang="en-US" dirty="0" smtClean="0"/>
              <a:t> ก็พบว่า</a:t>
            </a:r>
            <a:br>
              <a:rPr lang="th-TH" altLang="en-US" dirty="0" smtClean="0"/>
            </a:br>
            <a:r>
              <a:rPr lang="th-TH" altLang="en-US" dirty="0" smtClean="0"/>
              <a:t>ยังไม่เปลี่ยนแปลงจากเดิม ดังนั้น จึงควรใช้ยุทธศาสตร์ของสวัสดิการ ทร. ที่กำหนดไว้เดิมทั้ง ๔ ด้าน กล่าวคือ </a:t>
            </a:r>
            <a:endParaRPr lang="en-US" altLang="en-US" dirty="0" smtClean="0"/>
          </a:p>
          <a:p>
            <a:r>
              <a:rPr lang="th-TH" altLang="en-US" dirty="0" smtClean="0"/>
              <a:t>ยุทธศาสตร์ที่ 1 พัฒนาการให้บริการรองรับการขยายตัว ทาง ศก. และความก้าวหน้าทางเทคโนโลยี </a:t>
            </a:r>
            <a:endParaRPr lang="en-US" altLang="en-US" dirty="0" smtClean="0"/>
          </a:p>
          <a:p>
            <a:r>
              <a:rPr lang="th-TH" altLang="en-US" dirty="0" smtClean="0"/>
              <a:t>ยุทธศาสตร์ที่ 2 เสริมสร้างความมั่นคงพัฒนาบุคลากรและคุณภาพชีวิตที่ดีของข้าราชการและครอบครัว  </a:t>
            </a:r>
            <a:endParaRPr lang="en-US" altLang="en-US" dirty="0" smtClean="0"/>
          </a:p>
          <a:p>
            <a:r>
              <a:rPr lang="th-TH" altLang="en-US" dirty="0" smtClean="0"/>
              <a:t>ยุทธศาสตร์ที่ 3ปรับปรุงการบริการให้มีมาตรฐานเพื่อสร้างโอกาสการแข่ง</a:t>
            </a:r>
            <a:endParaRPr lang="en-US" altLang="en-US" dirty="0" smtClean="0"/>
          </a:p>
          <a:p>
            <a:r>
              <a:rPr lang="th-TH" altLang="en-US" dirty="0" smtClean="0"/>
              <a:t>และยุทธศาสตร์ที่ 4 ส่งเสริมความรู้ สร้างความชำนาญงานบริการ และการบริหารเชิงธุรกิจขัน </a:t>
            </a:r>
            <a:endParaRPr lang="en-US" altLang="en-US" dirty="0" smtClean="0"/>
          </a:p>
          <a:p>
            <a:pPr>
              <a:spcBef>
                <a:spcPct val="20000"/>
              </a:spcBef>
            </a:pPr>
            <a:endParaRPr kumimoji="0" lang="th-TH" altLang="en-US" b="1" dirty="0" smtClean="0">
              <a:solidFill>
                <a:schemeClr val="bg1"/>
              </a:solidFill>
              <a:latin typeface="Times New Roman" pitchFamily="18" charset="0"/>
              <a:cs typeface="TH Niramit AS" pitchFamily="2" charset="-34"/>
            </a:endParaRPr>
          </a:p>
          <a:p>
            <a:pPr eaLnBrk="1" hangingPunct="1">
              <a:spcBef>
                <a:spcPct val="0"/>
              </a:spcBef>
            </a:pPr>
            <a:endParaRPr lang="en-US" altLang="en-US" dirty="0" smtClean="0">
              <a:cs typeface="Cordia New" pitchFamily="34" charset="-34"/>
            </a:endParaRPr>
          </a:p>
        </p:txBody>
      </p:sp>
      <p:sp>
        <p:nvSpPr>
          <p:cNvPr id="177156" name="ตัวยึดหมายเลขภาพนิ่ง 3"/>
          <p:cNvSpPr txBox="1">
            <a:spLocks noGrp="1"/>
          </p:cNvSpPr>
          <p:nvPr/>
        </p:nvSpPr>
        <p:spPr bwMode="auto">
          <a:xfrm>
            <a:off x="3994435" y="8841636"/>
            <a:ext cx="3057182" cy="46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277" tIns="47139" rIns="94277" bIns="47139" anchor="b"/>
          <a:lstStyle>
            <a:lvl1pPr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748FE62E-7F4A-43BA-A6DE-9D818C4960C5}" type="slidenum">
              <a:rPr lang="en-US" altLang="en-US" sz="1200">
                <a:solidFill>
                  <a:srgbClr val="000000"/>
                </a:solidFill>
                <a:latin typeface="Arial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th-TH" altLang="en-US" sz="120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32022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0FCB873-09A8-4410-A135-75267C756027}" type="slidenum">
              <a:rPr lang="en-US">
                <a:solidFill>
                  <a:srgbClr val="000000"/>
                </a:solidFill>
              </a:rPr>
              <a:pPr/>
              <a:t>15</a:t>
            </a:fld>
            <a:endParaRPr lang="th-TH">
              <a:solidFill>
                <a:srgbClr val="000000"/>
              </a:solidFill>
            </a:endParaRPr>
          </a:p>
        </p:txBody>
      </p:sp>
      <p:sp>
        <p:nvSpPr>
          <p:cNvPr id="1440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14438" y="700088"/>
            <a:ext cx="4660900" cy="3495675"/>
          </a:xfrm>
          <a:ln/>
        </p:spPr>
      </p:sp>
      <p:sp>
        <p:nvSpPr>
          <p:cNvPr id="14407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8315" y="4429003"/>
            <a:ext cx="5669912" cy="4196013"/>
          </a:xfrm>
        </p:spPr>
        <p:txBody>
          <a:bodyPr/>
          <a:lstStyle/>
          <a:p>
            <a:endParaRPr lang="th-TH" dirty="0"/>
          </a:p>
        </p:txBody>
      </p:sp>
    </p:spTree>
    <p:extLst>
      <p:ext uri="{BB962C8B-B14F-4D97-AF65-F5344CB8AC3E}">
        <p14:creationId xmlns:p14="http://schemas.microsoft.com/office/powerpoint/2010/main" val="938174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4974">
              <a:defRPr/>
            </a:pPr>
            <a:r>
              <a:rPr lang="en-US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Project @ </a:t>
            </a:r>
            <a:r>
              <a:rPr lang="en-US" b="1" dirty="0" err="1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Plutaluang</a:t>
            </a:r>
            <a:r>
              <a:rPr lang="en-US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Navy Golf Course </a:t>
            </a:r>
          </a:p>
          <a:p>
            <a:r>
              <a:rPr lang="th-TH" dirty="0" smtClean="0"/>
              <a:t>เพิ่มการบริการในสถานที่ที่ยังไม่มี</a:t>
            </a:r>
            <a:r>
              <a:rPr lang="th-TH" baseline="0" dirty="0" smtClean="0"/>
              <a:t> เพื่อให้รองรับผู้ที่ต้องการมาเล่นกอล์ฟ ได้ทั้งครอบครัว (ทุกคน) เช่น </a:t>
            </a:r>
          </a:p>
          <a:p>
            <a:pPr marL="233744" indent="-233744">
              <a:buAutoNum type="arabicPeriod"/>
            </a:pPr>
            <a:r>
              <a:rPr lang="th-TH" baseline="0" dirty="0" smtClean="0"/>
              <a:t>เปิดให้บริการร้านเสริมสวยสุภาพสตรี</a:t>
            </a:r>
          </a:p>
          <a:p>
            <a:pPr marL="233744" indent="-233744">
              <a:buAutoNum type="arabicPeriod"/>
            </a:pPr>
            <a:r>
              <a:rPr lang="th-TH" baseline="0" dirty="0" smtClean="0"/>
              <a:t>เพิ่มชุดคอมพิวเตอร์ </a:t>
            </a:r>
            <a:r>
              <a:rPr lang="en-US" baseline="0" dirty="0" smtClean="0"/>
              <a:t>office </a:t>
            </a:r>
            <a:r>
              <a:rPr lang="th-TH" baseline="0" dirty="0" smtClean="0"/>
              <a:t>ไว้ให้สามารถใช้งานได้สำหรับผู้ที่มารอ</a:t>
            </a:r>
          </a:p>
          <a:p>
            <a:pPr marL="233744" indent="-233744">
              <a:buAutoNum type="arabicPeriod"/>
            </a:pPr>
            <a:r>
              <a:rPr lang="th-TH" baseline="0" dirty="0" smtClean="0"/>
              <a:t>จัดโครงการให้ผู้ที่มาออกรอบที่สนามกอล์ฟในเวลาเล่นกอล์ฟไปถึงลูกค้าที่บ้าน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204903-C5DE-4564-862D-00D14E1539DB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11637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4974">
              <a:defRPr/>
            </a:pPr>
            <a:r>
              <a:rPr lang="en-US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Project @ </a:t>
            </a:r>
            <a:r>
              <a:rPr lang="en-US" b="1" dirty="0" err="1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Plutaluang</a:t>
            </a:r>
            <a:r>
              <a:rPr lang="en-US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Navy Golf Course </a:t>
            </a:r>
          </a:p>
          <a:p>
            <a:r>
              <a:rPr lang="th-TH" dirty="0" smtClean="0"/>
              <a:t>เพิ่มการบริการในสถานที่ที่ยังไม่มี</a:t>
            </a:r>
            <a:r>
              <a:rPr lang="th-TH" baseline="0" dirty="0" smtClean="0"/>
              <a:t> เพื่อให้รองรับผู้ที่ต้องการมาเล่นกอล์ฟ ได้ทั้งครอบครัว (ทุกคน) เช่น </a:t>
            </a:r>
          </a:p>
          <a:p>
            <a:pPr marL="233744" indent="-233744">
              <a:buAutoNum type="arabicPeriod"/>
            </a:pPr>
            <a:r>
              <a:rPr lang="th-TH" baseline="0" dirty="0" smtClean="0"/>
              <a:t>เปิดให้บริการร้านเสริมสวยสุภาพสตรี</a:t>
            </a:r>
          </a:p>
          <a:p>
            <a:pPr marL="233744" indent="-233744">
              <a:buAutoNum type="arabicPeriod"/>
            </a:pPr>
            <a:r>
              <a:rPr lang="th-TH" baseline="0" dirty="0" smtClean="0"/>
              <a:t>เพิ่มชุดคอมพิวเตอร์ </a:t>
            </a:r>
            <a:r>
              <a:rPr lang="en-US" baseline="0" dirty="0" smtClean="0"/>
              <a:t>office </a:t>
            </a:r>
            <a:r>
              <a:rPr lang="th-TH" baseline="0" dirty="0" smtClean="0"/>
              <a:t>ไว้ให้สามารถใช้งานได้สำหรับผู้ที่มารอ</a:t>
            </a:r>
          </a:p>
          <a:p>
            <a:pPr marL="233744" indent="-233744">
              <a:buAutoNum type="arabicPeriod"/>
            </a:pPr>
            <a:r>
              <a:rPr lang="th-TH" baseline="0" dirty="0" smtClean="0"/>
              <a:t>จัดโครงการให้ผู้ที่มาออกรอบที่สนามกอล์ฟในเวลาเล่นกอล์ฟไปถึงลูกค้าที่บ้าน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204903-C5DE-4564-862D-00D14E1539DB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4181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4974">
              <a:defRPr/>
            </a:pPr>
            <a:r>
              <a:rPr lang="en-US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Project @ </a:t>
            </a:r>
            <a:r>
              <a:rPr lang="en-US" b="1" dirty="0" err="1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Plutaluang</a:t>
            </a:r>
            <a:r>
              <a:rPr lang="en-US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Navy Golf Course </a:t>
            </a:r>
          </a:p>
          <a:p>
            <a:r>
              <a:rPr lang="th-TH" dirty="0" smtClean="0"/>
              <a:t>เพิ่มการบริการในสถานที่ที่ยังไม่มี</a:t>
            </a:r>
            <a:r>
              <a:rPr lang="th-TH" baseline="0" dirty="0" smtClean="0"/>
              <a:t> เพื่อให้รองรับผู้ที่ต้องการมาเล่นกอล์ฟ ได้ทั้งครอบครัว (ทุกคน) เช่น </a:t>
            </a:r>
          </a:p>
          <a:p>
            <a:pPr marL="233744" indent="-233744">
              <a:buAutoNum type="arabicPeriod"/>
            </a:pPr>
            <a:r>
              <a:rPr lang="th-TH" baseline="0" dirty="0" smtClean="0"/>
              <a:t>เปิดให้บริการร้านเสริมสวยสุภาพสตรี</a:t>
            </a:r>
          </a:p>
          <a:p>
            <a:pPr marL="233744" indent="-233744">
              <a:buAutoNum type="arabicPeriod"/>
            </a:pPr>
            <a:r>
              <a:rPr lang="th-TH" baseline="0" dirty="0" smtClean="0"/>
              <a:t>เพิ่มชุดคอมพิวเตอร์ </a:t>
            </a:r>
            <a:r>
              <a:rPr lang="en-US" baseline="0" dirty="0" smtClean="0"/>
              <a:t>office </a:t>
            </a:r>
            <a:r>
              <a:rPr lang="th-TH" baseline="0" dirty="0" smtClean="0"/>
              <a:t>ไว้ให้สามารถใช้งานได้สำหรับผู้ที่มารอ</a:t>
            </a:r>
          </a:p>
          <a:p>
            <a:pPr marL="233744" indent="-233744">
              <a:buAutoNum type="arabicPeriod"/>
            </a:pPr>
            <a:r>
              <a:rPr lang="th-TH" baseline="0" dirty="0" smtClean="0"/>
              <a:t>จัดโครงการให้ผู้ที่มาออกรอบที่สนามกอล์ฟในเวลาเล่นกอล์ฟไปถึงลูกค้าที่บ้าน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204903-C5DE-4564-862D-00D14E1539DB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8430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533399" y="6239849"/>
            <a:ext cx="8251825" cy="4371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h-TH" sz="2800" dirty="0">
              <a:solidFill>
                <a:prstClr val="white"/>
              </a:solidFill>
              <a:latin typeface="AngsanaUPC" panose="02020603050405020304" pitchFamily="18" charset="-34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7337" y="4581128"/>
            <a:ext cx="4308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8892B0ED-4054-42B7-A893-2D57CE8DC8A6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th-TH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7798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892B0ED-4054-42B7-A893-2D57CE8DC8A6}" type="slidenum">
              <a:rPr lang="th-TH" b="1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 b="1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 dirty="0">
              <a:solidFill>
                <a:prstClr val="black"/>
              </a:solidFill>
              <a:latin typeface="AngsanaUPC" panose="02020603050405020304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450840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th-TH" sz="2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87495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th-TH" sz="2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84576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2BD92BF-F03A-4A0A-A7B9-61662E8E30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25332B7-E96F-40AF-987A-21A9BD140C81}" type="datetime1">
              <a:rPr lang="th-TH" sz="2800" smtClean="0">
                <a:solidFill>
                  <a:prstClr val="black"/>
                </a:solidFill>
              </a:rPr>
              <a:pPr>
                <a:defRPr/>
              </a:pPr>
              <a:t>06/03/62</a:t>
            </a:fld>
            <a:endParaRPr lang="en-US" sz="2800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084E0ED-4589-4656-82CE-1A4A4ADEE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sz="2800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7337" y="4581128"/>
            <a:ext cx="4308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9675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58498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89148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805941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99196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71295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49261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23460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7724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676400"/>
            <a:ext cx="7772400" cy="4419600"/>
          </a:xfrm>
          <a:prstGeom prst="rect">
            <a:avLst/>
          </a:prstGeom>
        </p:spPr>
        <p:txBody>
          <a:bodyPr/>
          <a:lstStyle>
            <a:lvl1pPr>
              <a:defRPr>
                <a:latin typeface="AngsanaUPC" panose="02020603050405020304" pitchFamily="18" charset="-34"/>
              </a:defRPr>
            </a:lvl1pPr>
            <a:lvl2pPr>
              <a:defRPr>
                <a:latin typeface="AngsanaUPC" panose="02020603050405020304" pitchFamily="18" charset="-34"/>
              </a:defRPr>
            </a:lvl2pPr>
            <a:lvl3pPr>
              <a:defRPr>
                <a:latin typeface="AngsanaUPC" panose="02020603050405020304" pitchFamily="18" charset="-34"/>
              </a:defRPr>
            </a:lvl3pPr>
            <a:lvl4pPr>
              <a:defRPr>
                <a:latin typeface="AngsanaUPC" panose="02020603050405020304" pitchFamily="18" charset="-34"/>
              </a:defRPr>
            </a:lvl4pPr>
            <a:lvl5pPr>
              <a:defRPr>
                <a:latin typeface="AngsanaUPC" panose="02020603050405020304" pitchFamily="18" charset="-34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4732D95-D9A0-4DEC-ABFD-85EA8EBD6498}" type="datetime1">
              <a:rPr lang="en-US" sz="2400" b="1" smtClean="0">
                <a:solidFill>
                  <a:prstClr val="black"/>
                </a:solidFill>
                <a:latin typeface="Times New Roman" pitchFamily="18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/6/2019</a:t>
            </a:fld>
            <a:endParaRPr lang="th-TH" sz="2400" b="1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7337" y="4581128"/>
            <a:ext cx="4308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8892B0ED-4054-42B7-A893-2D57CE8DC8A6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th-TH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362123"/>
      </p:ext>
    </p:extLst>
  </p:cSld>
  <p:clrMapOvr>
    <a:masterClrMapping/>
  </p:clrMapOvr>
  <p:transition>
    <p:strips dir="ru"/>
  </p:transition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08098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40907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3392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75895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27664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  <a:lvl2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2pPr>
            <a:lvl3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3pPr>
            <a:lvl4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4pPr>
            <a:lvl5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5pPr>
          </a:lstStyle>
          <a:p>
            <a:pPr lvl="0"/>
            <a:r>
              <a:rPr lang="da-DK" dirty="0" smtClean="0"/>
              <a:t>Click to edit Master text styles</a:t>
            </a:r>
          </a:p>
          <a:p>
            <a:pPr lvl="1"/>
            <a:r>
              <a:rPr lang="da-DK" dirty="0" smtClean="0"/>
              <a:t>Second level</a:t>
            </a:r>
          </a:p>
          <a:p>
            <a:pPr lvl="2"/>
            <a:r>
              <a:rPr lang="da-DK" dirty="0" smtClean="0"/>
              <a:t>Third level</a:t>
            </a:r>
          </a:p>
          <a:p>
            <a:pPr lvl="3"/>
            <a:r>
              <a:rPr lang="da-DK" dirty="0" smtClean="0"/>
              <a:t>Fourth level</a:t>
            </a:r>
          </a:p>
          <a:p>
            <a:pPr lvl="4"/>
            <a:r>
              <a:rPr lang="da-DK" dirty="0" smtClean="0"/>
              <a:t>Fifth level</a:t>
            </a:r>
            <a:endParaRPr lang="en-US" dirty="0"/>
          </a:p>
        </p:txBody>
      </p:sp>
      <p:pic>
        <p:nvPicPr>
          <p:cNvPr id="15" name="Picture 94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2862" y="6624981"/>
            <a:ext cx="180000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4" name="Group 33"/>
          <p:cNvGrpSpPr/>
          <p:nvPr/>
        </p:nvGrpSpPr>
        <p:grpSpPr>
          <a:xfrm>
            <a:off x="3175" y="0"/>
            <a:ext cx="9153827" cy="900000"/>
            <a:chOff x="3175" y="0"/>
            <a:chExt cx="9153827" cy="900000"/>
          </a:xfrm>
        </p:grpSpPr>
        <p:sp>
          <p:nvSpPr>
            <p:cNvPr id="25" name="Rectangle 24"/>
            <p:cNvSpPr/>
            <p:nvPr userDrawn="1"/>
          </p:nvSpPr>
          <p:spPr>
            <a:xfrm>
              <a:off x="3175" y="0"/>
              <a:ext cx="9139919" cy="900000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75000"/>
                  </a:schemeClr>
                </a:gs>
                <a:gs pos="0">
                  <a:schemeClr val="accent1">
                    <a:lumMod val="75000"/>
                  </a:schemeClr>
                </a:gs>
              </a:gsLst>
              <a:path path="circle">
                <a:fillToRect l="50000" t="50000" r="50000" b="50000"/>
              </a:path>
            </a:gradFill>
            <a:ln w="3175">
              <a:noFill/>
            </a:ln>
            <a:effectLst>
              <a:outerShdw blurRad="38100" dist="12700" dir="5400000" algn="t" rotWithShape="0">
                <a:prstClr val="black">
                  <a:alpha val="35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prstClr val="white"/>
                </a:solidFill>
              </a:endParaRPr>
            </a:p>
          </p:txBody>
        </p:sp>
        <p:cxnSp>
          <p:nvCxnSpPr>
            <p:cNvPr id="26" name="Straight Connector 25"/>
            <p:cNvCxnSpPr/>
            <p:nvPr userDrawn="1"/>
          </p:nvCxnSpPr>
          <p:spPr>
            <a:xfrm>
              <a:off x="13002" y="757309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002" y="180742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7337" y="4581128"/>
            <a:ext cx="4308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50886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  <a:lvl2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2pPr>
            <a:lvl3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3pPr>
            <a:lvl4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4pPr>
            <a:lvl5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5pPr>
          </a:lstStyle>
          <a:p>
            <a:pPr lvl="0"/>
            <a:r>
              <a:rPr lang="da-DK" dirty="0" smtClean="0"/>
              <a:t>Click to edit Master text styles</a:t>
            </a:r>
          </a:p>
          <a:p>
            <a:pPr lvl="1"/>
            <a:r>
              <a:rPr lang="da-DK" dirty="0" smtClean="0"/>
              <a:t>Second level</a:t>
            </a:r>
          </a:p>
          <a:p>
            <a:pPr lvl="2"/>
            <a:r>
              <a:rPr lang="da-DK" dirty="0" smtClean="0"/>
              <a:t>Third level</a:t>
            </a:r>
          </a:p>
          <a:p>
            <a:pPr lvl="3"/>
            <a:r>
              <a:rPr lang="da-DK" dirty="0" smtClean="0"/>
              <a:t>Fourth level</a:t>
            </a:r>
          </a:p>
          <a:p>
            <a:pPr lvl="4"/>
            <a:r>
              <a:rPr lang="da-DK" dirty="0" smtClean="0"/>
              <a:t>Fifth level</a:t>
            </a:r>
            <a:endParaRPr lang="en-US" dirty="0"/>
          </a:p>
        </p:txBody>
      </p:sp>
      <p:pic>
        <p:nvPicPr>
          <p:cNvPr id="15" name="Picture 94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2862" y="6624981"/>
            <a:ext cx="180000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4" name="Group 33"/>
          <p:cNvGrpSpPr/>
          <p:nvPr/>
        </p:nvGrpSpPr>
        <p:grpSpPr>
          <a:xfrm>
            <a:off x="3175" y="0"/>
            <a:ext cx="9153827" cy="900000"/>
            <a:chOff x="3175" y="0"/>
            <a:chExt cx="9153827" cy="900000"/>
          </a:xfrm>
        </p:grpSpPr>
        <p:sp>
          <p:nvSpPr>
            <p:cNvPr id="25" name="Rectangle 24"/>
            <p:cNvSpPr/>
            <p:nvPr userDrawn="1"/>
          </p:nvSpPr>
          <p:spPr>
            <a:xfrm>
              <a:off x="3175" y="0"/>
              <a:ext cx="9139919" cy="900000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75000"/>
                  </a:schemeClr>
                </a:gs>
                <a:gs pos="0">
                  <a:schemeClr val="accent1">
                    <a:lumMod val="75000"/>
                  </a:schemeClr>
                </a:gs>
              </a:gsLst>
              <a:path path="circle">
                <a:fillToRect l="50000" t="50000" r="50000" b="50000"/>
              </a:path>
            </a:gradFill>
            <a:ln w="3175">
              <a:noFill/>
            </a:ln>
            <a:effectLst>
              <a:outerShdw blurRad="38100" dist="12700" dir="5400000" algn="t" rotWithShape="0">
                <a:prstClr val="black">
                  <a:alpha val="35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prstClr val="white"/>
                </a:solidFill>
              </a:endParaRPr>
            </a:p>
          </p:txBody>
        </p:sp>
        <p:cxnSp>
          <p:nvCxnSpPr>
            <p:cNvPr id="26" name="Straight Connector 25"/>
            <p:cNvCxnSpPr/>
            <p:nvPr userDrawn="1"/>
          </p:nvCxnSpPr>
          <p:spPr>
            <a:xfrm>
              <a:off x="13002" y="757309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002" y="180742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7337" y="4581128"/>
            <a:ext cx="4308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09218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69207" y="4653136"/>
            <a:ext cx="430893" cy="3651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769641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69207" y="4653136"/>
            <a:ext cx="430893" cy="3651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846707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421438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800">
              <a:solidFill>
                <a:srgbClr val="000000"/>
              </a:solidFill>
              <a:latin typeface="Arial" pitchFamily="34" charset="0"/>
              <a:cs typeface="Angsana New" pitchFamily="18" charset="-34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421438"/>
            <a:ext cx="2895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800">
              <a:solidFill>
                <a:srgbClr val="000000"/>
              </a:solidFill>
              <a:latin typeface="Arial" pitchFamily="34" charset="0"/>
              <a:cs typeface="Angsana New" pitchFamily="18" charset="-34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B82192-A92C-4130-93DB-F9A96142D26E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th-T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340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2BD92BF-F03A-4A0A-A7B9-61662E8E30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52330CF-744C-498B-B5F5-B540FF30B970}" type="datetime1">
              <a:rPr lang="en-US" sz="2800" b="1" smtClean="0">
                <a:solidFill>
                  <a:srgbClr val="FFFF00"/>
                </a:solidFill>
              </a:rPr>
              <a:pPr>
                <a:defRPr/>
              </a:pPr>
              <a:t>3/6/2019</a:t>
            </a:fld>
            <a:endParaRPr lang="en-US" sz="2800" b="1">
              <a:solidFill>
                <a:srgbClr val="FFFF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084E0ED-4589-4656-82CE-1A4A4ADEE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sz="2800" b="1">
              <a:solidFill>
                <a:srgbClr val="FFFF00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7337" y="4581128"/>
            <a:ext cx="4308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8892B0ED-4054-42B7-A893-2D57CE8DC8A6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th-TH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725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997555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145080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257898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827810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03195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737981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742167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7724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676400"/>
            <a:ext cx="7772400" cy="4419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25332B7-E96F-40AF-987A-21A9BD140C81}" type="datetime1">
              <a:rPr lang="th-TH" sz="2800" smtClean="0">
                <a:solidFill>
                  <a:prstClr val="black"/>
                </a:solidFill>
                <a:latin typeface="Arial" pitchFamily="34" charset="0"/>
                <a:cs typeface="Angsana New" pitchFamily="18" charset="-34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6/03/62</a:t>
            </a:fld>
            <a:endParaRPr lang="en-US" sz="2800">
              <a:solidFill>
                <a:prstClr val="black"/>
              </a:solidFill>
              <a:latin typeface="Arial" pitchFamily="34" charset="0"/>
              <a:cs typeface="Angsana New" pitchFamily="18" charset="-34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800">
              <a:solidFill>
                <a:prstClr val="black"/>
              </a:solidFill>
              <a:latin typeface="Arial" pitchFamily="34" charset="0"/>
              <a:cs typeface="Angsana New" pitchFamily="18" charset="-34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7337" y="4581128"/>
            <a:ext cx="4308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141002"/>
      </p:ext>
    </p:extLst>
  </p:cSld>
  <p:clrMapOvr>
    <a:masterClrMapping/>
  </p:clrMapOvr>
  <p:transition>
    <p:strips dir="ru"/>
  </p:transition>
  <p:timing>
    <p:tnLst>
      <p:par>
        <p:cTn id="1" dur="indefinite" restart="never" nodeType="tmRoot"/>
      </p:par>
    </p:tnLst>
  </p:timing>
  <p:hf hdr="0" ft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ว่างเปล่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วันที่ 3"/>
          <p:cNvSpPr>
            <a:spLocks noGrp="1"/>
          </p:cNvSpPr>
          <p:nvPr>
            <p:ph type="dt" sz="half" idx="10"/>
          </p:nvPr>
        </p:nvSpPr>
        <p:spPr>
          <a:xfrm>
            <a:off x="457200" y="6356397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7FF21C6-1C68-4CA3-ABDD-550F45D0D9AB}" type="datetime1">
              <a:rPr lang="th-TH" sz="280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ngsana New" pitchFamily="18" charset="-34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6/03/62</a:t>
            </a:fld>
            <a:endParaRPr lang="th-TH" sz="2800">
              <a:solidFill>
                <a:prstClr val="black">
                  <a:tint val="75000"/>
                </a:prstClr>
              </a:solidFill>
              <a:latin typeface="Arial" pitchFamily="34" charset="0"/>
              <a:cs typeface="Angsana New" pitchFamily="18" charset="-34"/>
            </a:endParaRPr>
          </a:p>
        </p:txBody>
      </p:sp>
      <p:sp>
        <p:nvSpPr>
          <p:cNvPr id="3" name="ตัวแทนท้ายกระดาษ 4"/>
          <p:cNvSpPr>
            <a:spLocks noGrp="1"/>
          </p:cNvSpPr>
          <p:nvPr>
            <p:ph type="ftr" sz="quarter" idx="11"/>
          </p:nvPr>
        </p:nvSpPr>
        <p:spPr>
          <a:xfrm>
            <a:off x="3124200" y="6356397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800">
              <a:solidFill>
                <a:prstClr val="black">
                  <a:tint val="75000"/>
                </a:prstClr>
              </a:solidFill>
              <a:latin typeface="Arial" pitchFamily="34" charset="0"/>
              <a:cs typeface="Angsana New" pitchFamily="18" charset="-34"/>
            </a:endParaRPr>
          </a:p>
        </p:txBody>
      </p:sp>
      <p:sp>
        <p:nvSpPr>
          <p:cNvPr id="4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EC4AB7-1BB9-49CE-8842-E2D8182EE8F3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913549"/>
      </p:ext>
    </p:extLst>
  </p:cSld>
  <p:clrMapOvr>
    <a:masterClrMapping/>
  </p:clrMapOvr>
  <p:transition spd="med" advClick="0" advTm="700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  <a:lvl2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2pPr>
            <a:lvl3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3pPr>
            <a:lvl4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4pPr>
            <a:lvl5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5pPr>
          </a:lstStyle>
          <a:p>
            <a:pPr lvl="0"/>
            <a:r>
              <a:rPr lang="da-DK" dirty="0" smtClean="0"/>
              <a:t>Click to edit Master text styles</a:t>
            </a:r>
          </a:p>
          <a:p>
            <a:pPr lvl="1"/>
            <a:r>
              <a:rPr lang="da-DK" dirty="0" smtClean="0"/>
              <a:t>Second level</a:t>
            </a:r>
          </a:p>
          <a:p>
            <a:pPr lvl="2"/>
            <a:r>
              <a:rPr lang="da-DK" dirty="0" smtClean="0"/>
              <a:t>Third level</a:t>
            </a:r>
          </a:p>
          <a:p>
            <a:pPr lvl="3"/>
            <a:r>
              <a:rPr lang="da-DK" dirty="0" smtClean="0"/>
              <a:t>Fourth level</a:t>
            </a:r>
          </a:p>
          <a:p>
            <a:pPr lvl="4"/>
            <a:r>
              <a:rPr lang="da-DK" dirty="0" smtClean="0"/>
              <a:t>Fifth level</a:t>
            </a:r>
            <a:endParaRPr lang="en-US" dirty="0"/>
          </a:p>
        </p:txBody>
      </p:sp>
      <p:pic>
        <p:nvPicPr>
          <p:cNvPr id="15" name="Picture 94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2862" y="6624981"/>
            <a:ext cx="180000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4" name="Group 33"/>
          <p:cNvGrpSpPr/>
          <p:nvPr userDrawn="1"/>
        </p:nvGrpSpPr>
        <p:grpSpPr>
          <a:xfrm>
            <a:off x="3175" y="0"/>
            <a:ext cx="9153827" cy="900000"/>
            <a:chOff x="3175" y="0"/>
            <a:chExt cx="9153827" cy="900000"/>
          </a:xfrm>
        </p:grpSpPr>
        <p:sp>
          <p:nvSpPr>
            <p:cNvPr id="25" name="Rectangle 24"/>
            <p:cNvSpPr/>
            <p:nvPr userDrawn="1"/>
          </p:nvSpPr>
          <p:spPr>
            <a:xfrm>
              <a:off x="3175" y="0"/>
              <a:ext cx="9139919" cy="900000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75000"/>
                  </a:schemeClr>
                </a:gs>
                <a:gs pos="0">
                  <a:schemeClr val="accent1">
                    <a:lumMod val="75000"/>
                  </a:schemeClr>
                </a:gs>
              </a:gsLst>
              <a:path path="circle">
                <a:fillToRect l="50000" t="50000" r="50000" b="50000"/>
              </a:path>
            </a:gradFill>
            <a:ln w="3175">
              <a:noFill/>
            </a:ln>
            <a:effectLst>
              <a:outerShdw blurRad="38100" dist="12700" dir="5400000" algn="t" rotWithShape="0">
                <a:prstClr val="black">
                  <a:alpha val="35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AngsanaUPC" panose="02020603050405020304" pitchFamily="18" charset="-34"/>
              </a:endParaRPr>
            </a:p>
          </p:txBody>
        </p:sp>
        <p:cxnSp>
          <p:nvCxnSpPr>
            <p:cNvPr id="26" name="Straight Connector 25"/>
            <p:cNvCxnSpPr/>
            <p:nvPr userDrawn="1"/>
          </p:nvCxnSpPr>
          <p:spPr>
            <a:xfrm>
              <a:off x="13002" y="757309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002" y="180742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7337" y="4581128"/>
            <a:ext cx="4308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8892B0ED-4054-42B7-A893-2D57CE8DC8A6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th-TH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702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  <a:lvl2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2pPr>
            <a:lvl3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3pPr>
            <a:lvl4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4pPr>
            <a:lvl5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5pPr>
          </a:lstStyle>
          <a:p>
            <a:pPr lvl="0"/>
            <a:r>
              <a:rPr lang="da-DK" dirty="0" smtClean="0"/>
              <a:t>Click to edit Master text styles</a:t>
            </a:r>
          </a:p>
          <a:p>
            <a:pPr lvl="1"/>
            <a:r>
              <a:rPr lang="da-DK" dirty="0" smtClean="0"/>
              <a:t>Second level</a:t>
            </a:r>
          </a:p>
          <a:p>
            <a:pPr lvl="2"/>
            <a:r>
              <a:rPr lang="da-DK" dirty="0" smtClean="0"/>
              <a:t>Third level</a:t>
            </a:r>
          </a:p>
          <a:p>
            <a:pPr lvl="3"/>
            <a:r>
              <a:rPr lang="da-DK" dirty="0" smtClean="0"/>
              <a:t>Fourth level</a:t>
            </a:r>
          </a:p>
          <a:p>
            <a:pPr lvl="4"/>
            <a:r>
              <a:rPr lang="da-DK" dirty="0" smtClean="0"/>
              <a:t>Fifth level</a:t>
            </a:r>
            <a:endParaRPr lang="en-US" dirty="0"/>
          </a:p>
        </p:txBody>
      </p:sp>
      <p:pic>
        <p:nvPicPr>
          <p:cNvPr id="15" name="Picture 94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2862" y="6624981"/>
            <a:ext cx="180000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4" name="Group 33"/>
          <p:cNvGrpSpPr/>
          <p:nvPr userDrawn="1"/>
        </p:nvGrpSpPr>
        <p:grpSpPr>
          <a:xfrm>
            <a:off x="3175" y="0"/>
            <a:ext cx="9153827" cy="900000"/>
            <a:chOff x="3175" y="0"/>
            <a:chExt cx="9153827" cy="900000"/>
          </a:xfrm>
        </p:grpSpPr>
        <p:sp>
          <p:nvSpPr>
            <p:cNvPr id="25" name="Rectangle 24"/>
            <p:cNvSpPr/>
            <p:nvPr userDrawn="1"/>
          </p:nvSpPr>
          <p:spPr>
            <a:xfrm>
              <a:off x="3175" y="0"/>
              <a:ext cx="9139919" cy="900000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75000"/>
                  </a:schemeClr>
                </a:gs>
                <a:gs pos="0">
                  <a:schemeClr val="accent1">
                    <a:lumMod val="75000"/>
                  </a:schemeClr>
                </a:gs>
              </a:gsLst>
              <a:path path="circle">
                <a:fillToRect l="50000" t="50000" r="50000" b="50000"/>
              </a:path>
            </a:gradFill>
            <a:ln w="3175">
              <a:noFill/>
            </a:ln>
            <a:effectLst>
              <a:outerShdw blurRad="38100" dist="12700" dir="5400000" algn="t" rotWithShape="0">
                <a:prstClr val="black">
                  <a:alpha val="35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AngsanaUPC" panose="02020603050405020304" pitchFamily="18" charset="-34"/>
              </a:endParaRPr>
            </a:p>
          </p:txBody>
        </p:sp>
        <p:cxnSp>
          <p:nvCxnSpPr>
            <p:cNvPr id="26" name="Straight Connector 25"/>
            <p:cNvCxnSpPr/>
            <p:nvPr userDrawn="1"/>
          </p:nvCxnSpPr>
          <p:spPr>
            <a:xfrm>
              <a:off x="13002" y="757309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002" y="180742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7337" y="4581128"/>
            <a:ext cx="4308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8892B0ED-4054-42B7-A893-2D57CE8DC8A6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th-TH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220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69207" y="4653136"/>
            <a:ext cx="430893" cy="3651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43C1F7-D47B-4012-83F3-FD61B531B770}" type="slidenum">
              <a:rPr lang="en-US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ngsana New" pitchFamily="18" charset="-34"/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Arial" pitchFamily="34" charset="0"/>
              <a:cs typeface="Angsana New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520579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69207" y="4653136"/>
            <a:ext cx="430893" cy="3651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43C1F7-D47B-4012-83F3-FD61B531B770}" type="slidenum">
              <a:rPr lang="en-US" smtClean="0">
                <a:solidFill>
                  <a:prstClr val="black">
                    <a:tint val="75000"/>
                  </a:prstClr>
                </a:solidFill>
                <a:latin typeface="Arial" pitchFamily="34" charset="0"/>
                <a:cs typeface="Angsana New" pitchFamily="18" charset="-34"/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Arial" pitchFamily="34" charset="0"/>
              <a:cs typeface="Angsana New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099647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70648" cy="1143000"/>
          </a:xfrm>
          <a:prstGeom prst="rect">
            <a:avLst/>
          </a:prstGeom>
        </p:spPr>
        <p:txBody>
          <a:bodyPr/>
          <a:lstStyle>
            <a:lvl1pPr algn="l">
              <a:defRPr sz="4600"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9"/>
          <p:cNvSpPr>
            <a:spLocks noGrp="1"/>
          </p:cNvSpPr>
          <p:nvPr>
            <p:ph type="dt" sz="half" idx="10"/>
          </p:nvPr>
        </p:nvSpPr>
        <p:spPr>
          <a:xfrm>
            <a:off x="457200" y="642146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4E71BED-F3FF-43DA-967E-90D6373529F5}" type="datetime1">
              <a:rPr lang="en-US" sz="2800" b="1" smtClean="0">
                <a:solidFill>
                  <a:srgbClr val="D4D2D0">
                    <a:shade val="50000"/>
                  </a:srgbClr>
                </a:solidFill>
                <a:latin typeface="AngsanaUPC" pitchFamily="18" charset="-34"/>
                <a:cs typeface="AngsanaUPC" pitchFamily="18" charset="-34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/6/2019</a:t>
            </a:fld>
            <a:endParaRPr lang="en-US" sz="2800" b="1">
              <a:solidFill>
                <a:srgbClr val="D4D2D0">
                  <a:shade val="50000"/>
                </a:srgbClr>
              </a:solidFill>
              <a:latin typeface="AngsanaUPC" pitchFamily="18" charset="-34"/>
              <a:cs typeface="AngsanaUPC" pitchFamily="18" charset="-34"/>
            </a:endParaRPr>
          </a:p>
        </p:txBody>
      </p:sp>
      <p:sp>
        <p:nvSpPr>
          <p:cNvPr id="4" name="Footer Placeholder 21"/>
          <p:cNvSpPr>
            <a:spLocks noGrp="1"/>
          </p:cNvSpPr>
          <p:nvPr>
            <p:ph type="ftr" sz="quarter" idx="11"/>
          </p:nvPr>
        </p:nvSpPr>
        <p:spPr>
          <a:xfrm>
            <a:off x="3124200" y="6421463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800" b="1">
              <a:solidFill>
                <a:srgbClr val="D4D2D0">
                  <a:shade val="50000"/>
                </a:srgbClr>
              </a:solidFill>
              <a:latin typeface="AngsanaUPC" pitchFamily="18" charset="-34"/>
              <a:cs typeface="AngsanaUPC" pitchFamily="18" charset="-34"/>
            </a:endParaRPr>
          </a:p>
        </p:txBody>
      </p:sp>
      <p:sp>
        <p:nvSpPr>
          <p:cNvPr id="5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808A6D-2862-46C2-AECC-CA3549B676E0}" type="slidenum">
              <a:rPr lang="en-US" b="1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 b="1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1924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3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EECB58-30F5-4206-92B2-08578801700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FAA92-E916-4C63-94E0-A19008EDC067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0147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EECB58-30F5-4206-92B2-08578801700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FAA92-E916-4C63-94E0-A19008EDC067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388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892B0ED-4054-42B7-A893-2D57CE8DC8A6}" type="slidenum">
              <a:rPr lang="th-TH" b="1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 b="1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876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EECB58-30F5-4206-92B2-08578801700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FAA92-E916-4C63-94E0-A19008EDC067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8321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EECB58-30F5-4206-92B2-08578801700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FAA92-E916-4C63-94E0-A19008EDC067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5014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EECB58-30F5-4206-92B2-08578801700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FAA92-E916-4C63-94E0-A19008EDC067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6775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EECB58-30F5-4206-92B2-08578801700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FAA92-E916-4C63-94E0-A19008EDC067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0911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EECB58-30F5-4206-92B2-08578801700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FAA92-E916-4C63-94E0-A19008EDC067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3679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6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EECB58-30F5-4206-92B2-08578801700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FAA92-E916-4C63-94E0-A19008EDC067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5704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EECB58-30F5-4206-92B2-08578801700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FAA92-E916-4C63-94E0-A19008EDC067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622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EECB58-30F5-4206-92B2-08578801700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FAA92-E916-4C63-94E0-A19008EDC067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5517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56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56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EECB58-30F5-4206-92B2-08578801700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DFAA92-E916-4C63-94E0-A19008EDC067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0077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7" y="160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7" y="160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  <a:lvl2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2pPr>
            <a:lvl3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3pPr>
            <a:lvl4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4pPr>
            <a:lvl5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5" name="Rectangle 24"/>
          <p:cNvSpPr/>
          <p:nvPr userDrawn="1"/>
        </p:nvSpPr>
        <p:spPr>
          <a:xfrm>
            <a:off x="-12762" y="620688"/>
            <a:ext cx="9156762" cy="72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3175">
            <a:noFill/>
          </a:ln>
          <a:effectLst>
            <a:outerShdw blurRad="38100" dist="12700" dir="5400000" algn="t" rotWithShape="0">
              <a:prstClr val="black">
                <a:alpha val="35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prstClr val="white"/>
              </a:solidFill>
            </a:endParaRPr>
          </a:p>
        </p:txBody>
      </p:sp>
      <p:pic>
        <p:nvPicPr>
          <p:cNvPr id="10" name="Picture 94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2862" y="6624981"/>
            <a:ext cx="180000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1379591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892B0ED-4054-42B7-A893-2D57CE8DC8A6}" type="slidenum">
              <a:rPr lang="th-TH" b="1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 b="1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108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7" y="160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7" y="160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  <a:lvl2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2pPr>
            <a:lvl3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3pPr>
            <a:lvl4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4pPr>
            <a:lvl5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5" name="Rectangle 24"/>
          <p:cNvSpPr/>
          <p:nvPr userDrawn="1"/>
        </p:nvSpPr>
        <p:spPr>
          <a:xfrm>
            <a:off x="-12762" y="620688"/>
            <a:ext cx="7272000" cy="72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3175">
            <a:noFill/>
          </a:ln>
          <a:effectLst>
            <a:outerShdw blurRad="38100" dist="12700" dir="5400000" algn="t" rotWithShape="0">
              <a:prstClr val="black">
                <a:alpha val="35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prstClr val="white"/>
              </a:solidFill>
            </a:endParaRPr>
          </a:p>
        </p:txBody>
      </p:sp>
      <p:pic>
        <p:nvPicPr>
          <p:cNvPr id="19" name="Picture 8" descr="http://antfightflood.kmutt.ac.th/images/kmutt_logo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2233" y="56499"/>
            <a:ext cx="1890159" cy="623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4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2862" y="6624981"/>
            <a:ext cx="180000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19584466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ภาพนิ่งชื่อเรื่อ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ctrTitle"/>
          </p:nvPr>
        </p:nvSpPr>
        <p:spPr>
          <a:xfrm>
            <a:off x="633046" y="2130490"/>
            <a:ext cx="7174523" cy="1470025"/>
          </a:xfrm>
        </p:spPr>
        <p:txBody>
          <a:bodyPr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ชื่อเรื่องรอง 2"/>
          <p:cNvSpPr>
            <a:spLocks noGrp="1"/>
          </p:cNvSpPr>
          <p:nvPr>
            <p:ph type="subTitle" idx="1"/>
          </p:nvPr>
        </p:nvSpPr>
        <p:spPr>
          <a:xfrm>
            <a:off x="1266092" y="3886200"/>
            <a:ext cx="590843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h-TH" smtClean="0"/>
              <a:t>คลิกเพื่อแก้ไขลักษณะชื่อเรื่องรองต้นแบบ</a:t>
            </a:r>
            <a:endParaRPr lang="th-TH"/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E5A591-DDA7-4E6F-BBD3-7E6ED6B10ED7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94931B-91B9-4205-8F0A-63463B4C1B94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230140"/>
      </p:ext>
    </p:extLst>
  </p:cSld>
  <p:clrMapOvr>
    <a:masterClrMapping/>
  </p:clrMapOvr>
  <p:transition spd="med" advClick="0" advTm="700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ชื่อเรื่องและเนื้อห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เนื้อหา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777F9D-B490-4A37-A7D2-D729B121F24D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C674EF-627A-44D5-BB6D-A49CAD4DF9E3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868708"/>
      </p:ext>
    </p:extLst>
  </p:cSld>
  <p:clrMapOvr>
    <a:masterClrMapping/>
  </p:clrMapOvr>
  <p:transition spd="med" advClick="0" advTm="700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ส่วนหัวของ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666751" y="4406964"/>
            <a:ext cx="7174523" cy="1362075"/>
          </a:xfrm>
        </p:spPr>
        <p:txBody>
          <a:bodyPr anchor="t"/>
          <a:lstStyle>
            <a:lvl1pPr algn="l">
              <a:defRPr sz="4000" b="1" cap="all"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ข้อความ 2"/>
          <p:cNvSpPr>
            <a:spLocks noGrp="1"/>
          </p:cNvSpPr>
          <p:nvPr>
            <p:ph type="body" idx="1"/>
          </p:nvPr>
        </p:nvSpPr>
        <p:spPr>
          <a:xfrm>
            <a:off x="666751" y="2906722"/>
            <a:ext cx="7174523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EE7441-BB42-4107-B6BB-5F526AEACD55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131664-4F52-45B4-AEB9-A7D7738826D7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327306"/>
      </p:ext>
    </p:extLst>
  </p:cSld>
  <p:clrMapOvr>
    <a:masterClrMapping/>
  </p:clrMapOvr>
  <p:transition spd="med" advClick="0" advTm="700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เนื้อหา 2 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เนื้อหา 2"/>
          <p:cNvSpPr>
            <a:spLocks noGrp="1"/>
          </p:cNvSpPr>
          <p:nvPr>
            <p:ph sz="half" idx="1"/>
          </p:nvPr>
        </p:nvSpPr>
        <p:spPr>
          <a:xfrm>
            <a:off x="422031" y="1600206"/>
            <a:ext cx="372793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4" name="ตัวแทนเนื้อหา 3"/>
          <p:cNvSpPr>
            <a:spLocks noGrp="1"/>
          </p:cNvSpPr>
          <p:nvPr>
            <p:ph sz="half" idx="2"/>
          </p:nvPr>
        </p:nvSpPr>
        <p:spPr>
          <a:xfrm>
            <a:off x="4290647" y="1600206"/>
            <a:ext cx="372793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5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E3FCDE-8106-4E57-BFA5-1829AFB980BA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85DD02-C772-4B8E-BFEB-E8B5678C548B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50665"/>
      </p:ext>
    </p:extLst>
  </p:cSld>
  <p:clrMapOvr>
    <a:masterClrMapping/>
  </p:clrMapOvr>
  <p:transition spd="med" advClick="0" advTm="700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การเปรียบเทียบ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ข้อความ 2"/>
          <p:cNvSpPr>
            <a:spLocks noGrp="1"/>
          </p:cNvSpPr>
          <p:nvPr>
            <p:ph type="body" idx="1"/>
          </p:nvPr>
        </p:nvSpPr>
        <p:spPr>
          <a:xfrm>
            <a:off x="422031" y="1535113"/>
            <a:ext cx="372940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4" name="ตัวแทนเนื้อหา 3"/>
          <p:cNvSpPr>
            <a:spLocks noGrp="1"/>
          </p:cNvSpPr>
          <p:nvPr>
            <p:ph sz="half" idx="2"/>
          </p:nvPr>
        </p:nvSpPr>
        <p:spPr>
          <a:xfrm>
            <a:off x="422031" y="2174875"/>
            <a:ext cx="372940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5" name="ตัวแทนข้อความ 4"/>
          <p:cNvSpPr>
            <a:spLocks noGrp="1"/>
          </p:cNvSpPr>
          <p:nvPr>
            <p:ph type="body" sz="quarter" idx="3"/>
          </p:nvPr>
        </p:nvSpPr>
        <p:spPr>
          <a:xfrm>
            <a:off x="4287747" y="1535113"/>
            <a:ext cx="3730869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6" name="ตัวแทนเนื้อหา 5"/>
          <p:cNvSpPr>
            <a:spLocks noGrp="1"/>
          </p:cNvSpPr>
          <p:nvPr>
            <p:ph sz="quarter" idx="4"/>
          </p:nvPr>
        </p:nvSpPr>
        <p:spPr>
          <a:xfrm>
            <a:off x="4287747" y="2174875"/>
            <a:ext cx="3730869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7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3073A9-B89A-467D-BBF8-4740DDDA3918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26C067-0D1C-4E78-89E6-8A5CEDD75FCD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665262"/>
      </p:ext>
    </p:extLst>
  </p:cSld>
  <p:clrMapOvr>
    <a:masterClrMapping/>
  </p:clrMapOvr>
  <p:transition spd="med" advClick="0" advTm="700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เฉพาะชื่อเรื่อ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4F63EF-ED11-48BC-A04B-6BDBF15CA9FB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357E97-EE37-4368-ABA5-5823CB43023D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708657"/>
      </p:ext>
    </p:extLst>
  </p:cSld>
  <p:clrMapOvr>
    <a:masterClrMapping/>
  </p:clrMapOvr>
  <p:transition spd="med" advClick="0" advTm="700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ว่างเปล่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FF21C6-1C68-4CA3-ABDD-550F45D0D9AB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EC4AB7-1BB9-49CE-8842-E2D8182EE8F3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6899874"/>
      </p:ext>
    </p:extLst>
  </p:cSld>
  <p:clrMapOvr>
    <a:masterClrMapping/>
  </p:clrMapOvr>
  <p:transition spd="med" advClick="0" advTm="700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เนื้อหาพร้อมคำอธิบายภาพ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422032" y="273050"/>
            <a:ext cx="2776904" cy="1162050"/>
          </a:xfrm>
        </p:spPr>
        <p:txBody>
          <a:bodyPr anchor="b"/>
          <a:lstStyle>
            <a:lvl1pPr algn="l">
              <a:defRPr sz="2000" b="1"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เนื้อหา 2"/>
          <p:cNvSpPr>
            <a:spLocks noGrp="1"/>
          </p:cNvSpPr>
          <p:nvPr>
            <p:ph idx="1"/>
          </p:nvPr>
        </p:nvSpPr>
        <p:spPr>
          <a:xfrm>
            <a:off x="3300047" y="273111"/>
            <a:ext cx="471853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4" name="ตัวแทนข้อความ 3"/>
          <p:cNvSpPr>
            <a:spLocks noGrp="1"/>
          </p:cNvSpPr>
          <p:nvPr>
            <p:ph type="body" sz="half" idx="2"/>
          </p:nvPr>
        </p:nvSpPr>
        <p:spPr>
          <a:xfrm>
            <a:off x="422032" y="1435103"/>
            <a:ext cx="277690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5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0C0DC4-22CF-4533-870A-40FF87CBBDB5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33F975-D810-4256-92F1-FF73F195C579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00319"/>
      </p:ext>
    </p:extLst>
  </p:cSld>
  <p:clrMapOvr>
    <a:masterClrMapping/>
  </p:clrMapOvr>
  <p:transition spd="med" advClick="0" advTm="700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รูปภาพพร้อมคำอธิบายภาพ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1654424" y="4800600"/>
            <a:ext cx="5064369" cy="566738"/>
          </a:xfrm>
        </p:spPr>
        <p:txBody>
          <a:bodyPr anchor="b"/>
          <a:lstStyle>
            <a:lvl1pPr algn="l">
              <a:defRPr sz="2000" b="1"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รูปภาพ 2"/>
          <p:cNvSpPr>
            <a:spLocks noGrp="1"/>
          </p:cNvSpPr>
          <p:nvPr>
            <p:ph type="pic" idx="1"/>
          </p:nvPr>
        </p:nvSpPr>
        <p:spPr>
          <a:xfrm>
            <a:off x="1654424" y="612775"/>
            <a:ext cx="5064369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th-TH" noProof="0"/>
          </a:p>
        </p:txBody>
      </p:sp>
      <p:sp>
        <p:nvSpPr>
          <p:cNvPr id="4" name="ตัวแทนข้อความ 3"/>
          <p:cNvSpPr>
            <a:spLocks noGrp="1"/>
          </p:cNvSpPr>
          <p:nvPr>
            <p:ph type="body" sz="half" idx="2"/>
          </p:nvPr>
        </p:nvSpPr>
        <p:spPr>
          <a:xfrm>
            <a:off x="1654424" y="5367338"/>
            <a:ext cx="5064369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5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16088D-1D88-404D-B1F8-B57D0AD293B3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64B76D-73EC-499A-BCEF-9A8B96611B04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3117139"/>
      </p:ext>
    </p:extLst>
  </p:cSld>
  <p:clrMapOvr>
    <a:masterClrMapping/>
  </p:clrMapOvr>
  <p:transition spd="med" advClick="0" advTm="700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892B0ED-4054-42B7-A893-2D57CE8DC8A6}" type="slidenum">
              <a:rPr lang="th-TH" b="1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 b="1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218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ชื่อเรื่องและข้อความแนวตั้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ข้อความแนวตั้ง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55BC54-6F32-481B-8BFC-4E33D1A62AD1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CA796F-2DB9-442E-80FF-8F2CED18EA86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089501"/>
      </p:ext>
    </p:extLst>
  </p:cSld>
  <p:clrMapOvr>
    <a:masterClrMapping/>
  </p:clrMapOvr>
  <p:transition spd="med" advClick="0" advTm="700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ข้อความและชื่อเรื่องแนวตั้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แนวตั้ง 1"/>
          <p:cNvSpPr>
            <a:spLocks noGrp="1"/>
          </p:cNvSpPr>
          <p:nvPr>
            <p:ph type="title" orient="vert"/>
          </p:nvPr>
        </p:nvSpPr>
        <p:spPr>
          <a:xfrm>
            <a:off x="6119447" y="274697"/>
            <a:ext cx="1899138" cy="5851525"/>
          </a:xfrm>
        </p:spPr>
        <p:txBody>
          <a:bodyPr vert="eaVert"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ข้อความแนวตั้ง 2"/>
          <p:cNvSpPr>
            <a:spLocks noGrp="1"/>
          </p:cNvSpPr>
          <p:nvPr>
            <p:ph type="body" orient="vert" idx="1"/>
          </p:nvPr>
        </p:nvSpPr>
        <p:spPr>
          <a:xfrm>
            <a:off x="422031" y="274697"/>
            <a:ext cx="5556738" cy="5851525"/>
          </a:xfrm>
        </p:spPr>
        <p:txBody>
          <a:bodyPr vert="eaVert"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DF5079-05B4-4943-8F3C-438DB0AB8D32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1E0880-3429-4071-89FB-C2D5D2D15281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086212"/>
      </p:ext>
    </p:extLst>
  </p:cSld>
  <p:clrMapOvr>
    <a:masterClrMapping/>
  </p:clrMapOvr>
  <p:transition spd="med" advClick="0" advTm="700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ภาพนิ่งชื่อเรื่อ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สี่เหลี่ยมผืนผ้า 12"/>
          <p:cNvSpPr/>
          <p:nvPr/>
        </p:nvSpPr>
        <p:spPr bwMode="auto">
          <a:xfrm>
            <a:off x="381000" y="0"/>
            <a:ext cx="609600" cy="6858000"/>
          </a:xfrm>
          <a:prstGeom prst="rect">
            <a:avLst/>
          </a:prstGeom>
          <a:solidFill>
            <a:schemeClr val="accent1">
              <a:tint val="60000"/>
              <a:alpha val="54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5" name="สี่เหลี่ยมผืนผ้า 14"/>
          <p:cNvSpPr/>
          <p:nvPr/>
        </p:nvSpPr>
        <p:spPr bwMode="auto">
          <a:xfrm>
            <a:off x="276225" y="0"/>
            <a:ext cx="104775" cy="6858000"/>
          </a:xfrm>
          <a:prstGeom prst="rect">
            <a:avLst/>
          </a:prstGeom>
          <a:solidFill>
            <a:schemeClr val="accent1">
              <a:tint val="40000"/>
              <a:alpha val="36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6" name="สี่เหลี่ยมผืนผ้า 16"/>
          <p:cNvSpPr/>
          <p:nvPr/>
        </p:nvSpPr>
        <p:spPr bwMode="auto">
          <a:xfrm>
            <a:off x="990600" y="0"/>
            <a:ext cx="182563" cy="6858000"/>
          </a:xfrm>
          <a:prstGeom prst="rect">
            <a:avLst/>
          </a:prstGeom>
          <a:solidFill>
            <a:schemeClr val="accent1">
              <a:tint val="40000"/>
              <a:alpha val="7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7" name="สี่เหลี่ยมผืนผ้า 17"/>
          <p:cNvSpPr/>
          <p:nvPr/>
        </p:nvSpPr>
        <p:spPr bwMode="auto">
          <a:xfrm>
            <a:off x="1141413" y="0"/>
            <a:ext cx="230187" cy="6858000"/>
          </a:xfrm>
          <a:prstGeom prst="rect">
            <a:avLst/>
          </a:prstGeom>
          <a:solidFill>
            <a:schemeClr val="accent1">
              <a:tint val="20000"/>
              <a:alpha val="7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10" name="ตัวเชื่อมต่อตรง 18"/>
          <p:cNvSpPr>
            <a:spLocks noChangeShapeType="1"/>
          </p:cNvSpPr>
          <p:nvPr/>
        </p:nvSpPr>
        <p:spPr bwMode="auto">
          <a:xfrm>
            <a:off x="106363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  <a:alpha val="7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800">
              <a:solidFill>
                <a:prstClr val="black"/>
              </a:solidFill>
              <a:cs typeface="Angsana New" pitchFamily="18" charset="-34"/>
            </a:endParaRPr>
          </a:p>
        </p:txBody>
      </p:sp>
      <p:sp>
        <p:nvSpPr>
          <p:cNvPr id="11" name="ตัวเชื่อมต่อตรง 19"/>
          <p:cNvSpPr>
            <a:spLocks noChangeShapeType="1"/>
          </p:cNvSpPr>
          <p:nvPr/>
        </p:nvSpPr>
        <p:spPr bwMode="auto">
          <a:xfrm>
            <a:off x="914400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20000"/>
                <a:alpha val="8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800">
              <a:solidFill>
                <a:prstClr val="black"/>
              </a:solidFill>
              <a:cs typeface="Angsana New" pitchFamily="18" charset="-34"/>
            </a:endParaRPr>
          </a:p>
        </p:txBody>
      </p:sp>
      <p:sp>
        <p:nvSpPr>
          <p:cNvPr id="12" name="ตัวเชื่อมต่อตรง 20"/>
          <p:cNvSpPr>
            <a:spLocks noChangeShapeType="1"/>
          </p:cNvSpPr>
          <p:nvPr/>
        </p:nvSpPr>
        <p:spPr bwMode="auto">
          <a:xfrm>
            <a:off x="854075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800">
              <a:solidFill>
                <a:prstClr val="black"/>
              </a:solidFill>
              <a:cs typeface="Angsana New" pitchFamily="18" charset="-34"/>
            </a:endParaRPr>
          </a:p>
        </p:txBody>
      </p:sp>
      <p:sp>
        <p:nvSpPr>
          <p:cNvPr id="13" name="ตัวเชื่อมต่อตรง 23"/>
          <p:cNvSpPr>
            <a:spLocks noChangeShapeType="1"/>
          </p:cNvSpPr>
          <p:nvPr/>
        </p:nvSpPr>
        <p:spPr bwMode="auto">
          <a:xfrm>
            <a:off x="1727200" y="0"/>
            <a:ext cx="0" cy="6858000"/>
          </a:xfrm>
          <a:prstGeom prst="line">
            <a:avLst/>
          </a:prstGeom>
          <a:noFill/>
          <a:ln w="28575" cap="flat" cmpd="sng" algn="ctr">
            <a:solidFill>
              <a:schemeClr val="accent1">
                <a:tint val="60000"/>
                <a:alpha val="82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800">
              <a:solidFill>
                <a:prstClr val="black"/>
              </a:solidFill>
              <a:cs typeface="Angsana New" pitchFamily="18" charset="-34"/>
            </a:endParaRPr>
          </a:p>
        </p:txBody>
      </p:sp>
      <p:sp>
        <p:nvSpPr>
          <p:cNvPr id="14" name="ตัวเชื่อมต่อตรง 24"/>
          <p:cNvSpPr>
            <a:spLocks noChangeShapeType="1"/>
          </p:cNvSpPr>
          <p:nvPr/>
        </p:nvSpPr>
        <p:spPr bwMode="auto">
          <a:xfrm>
            <a:off x="10668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800">
              <a:solidFill>
                <a:prstClr val="black"/>
              </a:solidFill>
              <a:cs typeface="Angsana New" pitchFamily="18" charset="-34"/>
            </a:endParaRPr>
          </a:p>
        </p:txBody>
      </p:sp>
      <p:sp>
        <p:nvSpPr>
          <p:cNvPr id="15" name="ตัวเชื่อมต่อตรง 25"/>
          <p:cNvSpPr>
            <a:spLocks noChangeShapeType="1"/>
          </p:cNvSpPr>
          <p:nvPr/>
        </p:nvSpPr>
        <p:spPr bwMode="auto">
          <a:xfrm>
            <a:off x="9113838" y="0"/>
            <a:ext cx="0" cy="6858000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800">
              <a:solidFill>
                <a:prstClr val="black"/>
              </a:solidFill>
              <a:cs typeface="Angsana New" pitchFamily="18" charset="-34"/>
            </a:endParaRPr>
          </a:p>
        </p:txBody>
      </p:sp>
      <p:sp>
        <p:nvSpPr>
          <p:cNvPr id="16" name="สี่เหลี่ยมผืนผ้า 26"/>
          <p:cNvSpPr/>
          <p:nvPr/>
        </p:nvSpPr>
        <p:spPr bwMode="auto">
          <a:xfrm>
            <a:off x="1219200" y="0"/>
            <a:ext cx="76200" cy="6858000"/>
          </a:xfrm>
          <a:prstGeom prst="rect">
            <a:avLst/>
          </a:prstGeom>
          <a:solidFill>
            <a:schemeClr val="accent1">
              <a:tint val="60000"/>
              <a:alpha val="5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17" name="วงรี 27"/>
          <p:cNvSpPr/>
          <p:nvPr/>
        </p:nvSpPr>
        <p:spPr bwMode="auto">
          <a:xfrm>
            <a:off x="609600" y="3429000"/>
            <a:ext cx="1295400" cy="1295400"/>
          </a:xfrm>
          <a:prstGeom prst="ellipse">
            <a:avLst/>
          </a:prstGeom>
          <a:solidFill>
            <a:schemeClr val="accent1"/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18" name="วงรี 28"/>
          <p:cNvSpPr/>
          <p:nvPr/>
        </p:nvSpPr>
        <p:spPr bwMode="auto">
          <a:xfrm>
            <a:off x="1309688" y="4867275"/>
            <a:ext cx="641350" cy="641350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19" name="วงรี 29"/>
          <p:cNvSpPr/>
          <p:nvPr/>
        </p:nvSpPr>
        <p:spPr bwMode="auto">
          <a:xfrm>
            <a:off x="1090613" y="5500688"/>
            <a:ext cx="138112" cy="136525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20" name="วงรี 30"/>
          <p:cNvSpPr/>
          <p:nvPr/>
        </p:nvSpPr>
        <p:spPr bwMode="auto">
          <a:xfrm>
            <a:off x="1663700" y="5788025"/>
            <a:ext cx="274638" cy="274638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21" name="วงรี 31"/>
          <p:cNvSpPr/>
          <p:nvPr/>
        </p:nvSpPr>
        <p:spPr>
          <a:xfrm>
            <a:off x="1905000" y="4495800"/>
            <a:ext cx="365125" cy="365125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8" name="ชื่อเรื่อง 7"/>
          <p:cNvSpPr>
            <a:spLocks noGrp="1"/>
          </p:cNvSpPr>
          <p:nvPr>
            <p:ph type="ctrTitle"/>
          </p:nvPr>
        </p:nvSpPr>
        <p:spPr>
          <a:xfrm>
            <a:off x="2286000" y="3124200"/>
            <a:ext cx="6172200" cy="1894362"/>
          </a:xfrm>
        </p:spPr>
        <p:txBody>
          <a:bodyPr/>
          <a:lstStyle>
            <a:lvl1pPr>
              <a:defRPr b="1"/>
            </a:lvl1pPr>
          </a:lstStyle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9" name="ชื่อเรื่องรอง 8"/>
          <p:cNvSpPr>
            <a:spLocks noGrp="1"/>
          </p:cNvSpPr>
          <p:nvPr>
            <p:ph type="subTitle" idx="1"/>
          </p:nvPr>
        </p:nvSpPr>
        <p:spPr>
          <a:xfrm>
            <a:off x="2286000" y="5003322"/>
            <a:ext cx="6172200" cy="1371600"/>
          </a:xfrm>
        </p:spPr>
        <p:txBody>
          <a:bodyPr/>
          <a:lstStyle>
            <a:lvl1pPr marL="0" indent="0" algn="l">
              <a:buNone/>
              <a:defRPr sz="1800" b="1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th-TH" smtClean="0"/>
              <a:t>คลิกเพื่อแก้ไขลักษณะชื่อเรื่องรองต้นแบบ</a:t>
            </a:r>
            <a:endParaRPr lang="en-US"/>
          </a:p>
        </p:txBody>
      </p:sp>
      <p:sp>
        <p:nvSpPr>
          <p:cNvPr id="22" name="ตัวแทนวันที่ 27"/>
          <p:cNvSpPr>
            <a:spLocks noGrp="1"/>
          </p:cNvSpPr>
          <p:nvPr>
            <p:ph type="dt" sz="half" idx="10"/>
          </p:nvPr>
        </p:nvSpPr>
        <p:spPr bwMode="auto">
          <a:xfrm rot="5400000">
            <a:off x="7764463" y="1174750"/>
            <a:ext cx="2286000" cy="381000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6633D18B-8B37-4E6E-B7F2-103FAB8CBA10}" type="datetime1">
              <a:rPr lang="th-TH"/>
              <a:pPr>
                <a:defRPr/>
              </a:pPr>
              <a:t>06/03/62</a:t>
            </a:fld>
            <a:endParaRPr lang="th-TH"/>
          </a:p>
        </p:txBody>
      </p:sp>
      <p:sp>
        <p:nvSpPr>
          <p:cNvPr id="23" name="ตัวแทนท้ายกระดาษ 16"/>
          <p:cNvSpPr>
            <a:spLocks noGrp="1"/>
          </p:cNvSpPr>
          <p:nvPr>
            <p:ph type="ftr" sz="quarter" idx="11"/>
          </p:nvPr>
        </p:nvSpPr>
        <p:spPr bwMode="auto">
          <a:xfrm rot="5400000">
            <a:off x="7077076" y="4181475"/>
            <a:ext cx="3657600" cy="38417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24" name="ตัวแทนหมายเลขภาพนิ่ง 28"/>
          <p:cNvSpPr>
            <a:spLocks noGrp="1"/>
          </p:cNvSpPr>
          <p:nvPr>
            <p:ph type="sldNum" sz="quarter" idx="12"/>
          </p:nvPr>
        </p:nvSpPr>
        <p:spPr bwMode="auto">
          <a:xfrm>
            <a:off x="1325563" y="4929188"/>
            <a:ext cx="609600" cy="5175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3540FF66-B31A-4270-8D37-BFC202191C7D}" type="slidenum">
              <a:rPr lang="th-TH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5440065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ชื่อเรื่องและเนื้อห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8" name="ตัวแทนเนื้อหา 7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7467600" cy="4873752"/>
          </a:xfrm>
        </p:spPr>
        <p:txBody>
          <a:bodyPr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en-US"/>
          </a:p>
        </p:txBody>
      </p:sp>
      <p:sp>
        <p:nvSpPr>
          <p:cNvPr id="4" name="ตัวแทนวันที่ 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5D07EBA3-0C0E-49C7-AB7A-4E08A3F87D56}" type="datetime1">
              <a:rPr lang="th-TH"/>
              <a:pPr>
                <a:defRPr/>
              </a:pPr>
              <a:t>06/03/62</a:t>
            </a:fld>
            <a:endParaRPr lang="th-TH"/>
          </a:p>
        </p:txBody>
      </p:sp>
      <p:sp>
        <p:nvSpPr>
          <p:cNvPr id="5" name="ตัวแทนหมายเลขภาพนิ่ง 8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77294B63-7111-4D43-9C76-31D390739975}" type="slidenum">
              <a:rPr lang="th-TH"/>
              <a:pPr>
                <a:defRPr/>
              </a:pPr>
              <a:t>‹#›</a:t>
            </a:fld>
            <a:endParaRPr lang="th-TH"/>
          </a:p>
        </p:txBody>
      </p:sp>
      <p:sp>
        <p:nvSpPr>
          <p:cNvPr id="6" name="ตัวแทนท้ายกระดาษ 9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1624283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ส่วนหัวของส่วน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สี่เหลี่ยมผืนผ้า 12"/>
          <p:cNvSpPr/>
          <p:nvPr/>
        </p:nvSpPr>
        <p:spPr bwMode="auto">
          <a:xfrm>
            <a:off x="381000" y="0"/>
            <a:ext cx="609600" cy="6858000"/>
          </a:xfrm>
          <a:prstGeom prst="rect">
            <a:avLst/>
          </a:prstGeom>
          <a:solidFill>
            <a:schemeClr val="accent1">
              <a:tint val="60000"/>
              <a:alpha val="54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5" name="สี่เหลี่ยมผืนผ้า 14"/>
          <p:cNvSpPr/>
          <p:nvPr/>
        </p:nvSpPr>
        <p:spPr bwMode="auto">
          <a:xfrm>
            <a:off x="276225" y="0"/>
            <a:ext cx="104775" cy="6858000"/>
          </a:xfrm>
          <a:prstGeom prst="rect">
            <a:avLst/>
          </a:prstGeom>
          <a:solidFill>
            <a:schemeClr val="accent1">
              <a:tint val="40000"/>
              <a:alpha val="36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6" name="สี่เหลี่ยมผืนผ้า 16"/>
          <p:cNvSpPr/>
          <p:nvPr/>
        </p:nvSpPr>
        <p:spPr bwMode="auto">
          <a:xfrm>
            <a:off x="990600" y="0"/>
            <a:ext cx="182563" cy="6858000"/>
          </a:xfrm>
          <a:prstGeom prst="rect">
            <a:avLst/>
          </a:prstGeom>
          <a:solidFill>
            <a:schemeClr val="accent1">
              <a:tint val="40000"/>
              <a:alpha val="7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7" name="สี่เหลี่ยมผืนผ้า 17"/>
          <p:cNvSpPr/>
          <p:nvPr/>
        </p:nvSpPr>
        <p:spPr bwMode="auto">
          <a:xfrm>
            <a:off x="1141413" y="0"/>
            <a:ext cx="230187" cy="6858000"/>
          </a:xfrm>
          <a:prstGeom prst="rect">
            <a:avLst/>
          </a:prstGeom>
          <a:solidFill>
            <a:schemeClr val="accent1">
              <a:tint val="20000"/>
              <a:alpha val="7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8" name="ตัวเชื่อมต่อตรง 18"/>
          <p:cNvSpPr>
            <a:spLocks noChangeShapeType="1"/>
          </p:cNvSpPr>
          <p:nvPr/>
        </p:nvSpPr>
        <p:spPr bwMode="auto">
          <a:xfrm>
            <a:off x="106363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  <a:alpha val="7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800">
              <a:solidFill>
                <a:prstClr val="white"/>
              </a:solidFill>
              <a:cs typeface="Angsana New" pitchFamily="18" charset="-34"/>
            </a:endParaRPr>
          </a:p>
        </p:txBody>
      </p:sp>
      <p:sp>
        <p:nvSpPr>
          <p:cNvPr id="9" name="ตัวเชื่อมต่อตรง 19"/>
          <p:cNvSpPr>
            <a:spLocks noChangeShapeType="1"/>
          </p:cNvSpPr>
          <p:nvPr/>
        </p:nvSpPr>
        <p:spPr bwMode="auto">
          <a:xfrm>
            <a:off x="914400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20000"/>
                <a:alpha val="8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800">
              <a:solidFill>
                <a:prstClr val="white"/>
              </a:solidFill>
              <a:cs typeface="Angsana New" pitchFamily="18" charset="-34"/>
            </a:endParaRPr>
          </a:p>
        </p:txBody>
      </p:sp>
      <p:sp>
        <p:nvSpPr>
          <p:cNvPr id="10" name="ตัวเชื่อมต่อตรง 20"/>
          <p:cNvSpPr>
            <a:spLocks noChangeShapeType="1"/>
          </p:cNvSpPr>
          <p:nvPr/>
        </p:nvSpPr>
        <p:spPr bwMode="auto">
          <a:xfrm>
            <a:off x="854075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800">
              <a:solidFill>
                <a:prstClr val="white"/>
              </a:solidFill>
              <a:cs typeface="Angsana New" pitchFamily="18" charset="-34"/>
            </a:endParaRPr>
          </a:p>
        </p:txBody>
      </p:sp>
      <p:sp>
        <p:nvSpPr>
          <p:cNvPr id="11" name="ตัวเชื่อมต่อตรง 23"/>
          <p:cNvSpPr>
            <a:spLocks noChangeShapeType="1"/>
          </p:cNvSpPr>
          <p:nvPr/>
        </p:nvSpPr>
        <p:spPr bwMode="auto">
          <a:xfrm>
            <a:off x="1727200" y="0"/>
            <a:ext cx="0" cy="6858000"/>
          </a:xfrm>
          <a:prstGeom prst="line">
            <a:avLst/>
          </a:prstGeom>
          <a:noFill/>
          <a:ln w="28575" cap="flat" cmpd="sng" algn="ctr">
            <a:solidFill>
              <a:schemeClr val="accent1">
                <a:tint val="60000"/>
                <a:alpha val="82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800">
              <a:solidFill>
                <a:prstClr val="white"/>
              </a:solidFill>
              <a:cs typeface="Angsana New" pitchFamily="18" charset="-34"/>
            </a:endParaRPr>
          </a:p>
        </p:txBody>
      </p:sp>
      <p:sp>
        <p:nvSpPr>
          <p:cNvPr id="12" name="ตัวเชื่อมต่อตรง 24"/>
          <p:cNvSpPr>
            <a:spLocks noChangeShapeType="1"/>
          </p:cNvSpPr>
          <p:nvPr/>
        </p:nvSpPr>
        <p:spPr bwMode="auto">
          <a:xfrm>
            <a:off x="10668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800">
              <a:solidFill>
                <a:prstClr val="white"/>
              </a:solidFill>
              <a:cs typeface="Angsana New" pitchFamily="18" charset="-34"/>
            </a:endParaRPr>
          </a:p>
        </p:txBody>
      </p:sp>
      <p:sp>
        <p:nvSpPr>
          <p:cNvPr id="13" name="สี่เหลี่ยมผืนผ้า 25"/>
          <p:cNvSpPr/>
          <p:nvPr/>
        </p:nvSpPr>
        <p:spPr bwMode="auto">
          <a:xfrm>
            <a:off x="1219200" y="0"/>
            <a:ext cx="76200" cy="6858000"/>
          </a:xfrm>
          <a:prstGeom prst="rect">
            <a:avLst/>
          </a:prstGeom>
          <a:solidFill>
            <a:schemeClr val="accent1">
              <a:tint val="60000"/>
              <a:alpha val="5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14" name="วงรี 26"/>
          <p:cNvSpPr/>
          <p:nvPr/>
        </p:nvSpPr>
        <p:spPr bwMode="auto">
          <a:xfrm>
            <a:off x="609600" y="3429000"/>
            <a:ext cx="1295400" cy="1295400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15" name="วงรี 27"/>
          <p:cNvSpPr/>
          <p:nvPr/>
        </p:nvSpPr>
        <p:spPr bwMode="auto">
          <a:xfrm>
            <a:off x="1323975" y="4867275"/>
            <a:ext cx="642938" cy="641350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16" name="วงรี 28"/>
          <p:cNvSpPr/>
          <p:nvPr/>
        </p:nvSpPr>
        <p:spPr bwMode="auto">
          <a:xfrm>
            <a:off x="1090613" y="5500688"/>
            <a:ext cx="138112" cy="136525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17" name="วงรี 29"/>
          <p:cNvSpPr/>
          <p:nvPr/>
        </p:nvSpPr>
        <p:spPr bwMode="auto">
          <a:xfrm>
            <a:off x="1663700" y="5791200"/>
            <a:ext cx="274638" cy="274638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18" name="วงรี 30"/>
          <p:cNvSpPr/>
          <p:nvPr/>
        </p:nvSpPr>
        <p:spPr bwMode="auto">
          <a:xfrm>
            <a:off x="1879600" y="4479925"/>
            <a:ext cx="365125" cy="365125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19" name="ตัวเชื่อมต่อตรง 31"/>
          <p:cNvSpPr>
            <a:spLocks noChangeShapeType="1"/>
          </p:cNvSpPr>
          <p:nvPr/>
        </p:nvSpPr>
        <p:spPr bwMode="auto">
          <a:xfrm>
            <a:off x="9097963" y="0"/>
            <a:ext cx="0" cy="6858000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800">
              <a:solidFill>
                <a:prstClr val="white"/>
              </a:solidFill>
              <a:cs typeface="Angsana New" pitchFamily="18" charset="-34"/>
            </a:endParaRPr>
          </a:p>
        </p:txBody>
      </p:sp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2286000" y="2895600"/>
            <a:ext cx="6172200" cy="2053590"/>
          </a:xfrm>
        </p:spPr>
        <p:txBody>
          <a:bodyPr/>
          <a:lstStyle>
            <a:lvl1pPr algn="l">
              <a:buNone/>
              <a:defRPr sz="3000" b="1" cap="small" baseline="0"/>
            </a:lvl1pPr>
          </a:lstStyle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3" name="ตัวแทนข้อความ 2"/>
          <p:cNvSpPr>
            <a:spLocks noGrp="1"/>
          </p:cNvSpPr>
          <p:nvPr>
            <p:ph type="body" idx="1"/>
          </p:nvPr>
        </p:nvSpPr>
        <p:spPr>
          <a:xfrm>
            <a:off x="2286000" y="5010150"/>
            <a:ext cx="6172200" cy="1371600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20" name="ตัวแทนวันที่ 3"/>
          <p:cNvSpPr>
            <a:spLocks noGrp="1"/>
          </p:cNvSpPr>
          <p:nvPr>
            <p:ph type="dt" sz="half" idx="10"/>
          </p:nvPr>
        </p:nvSpPr>
        <p:spPr bwMode="auto">
          <a:xfrm rot="5400000">
            <a:off x="7762875" y="1169988"/>
            <a:ext cx="2286000" cy="381000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FFF39D"/>
                </a:solidFill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EBFB9CE2-12E7-4B77-88B2-A784B1A7FE29}" type="datetime1">
              <a:rPr lang="th-TH"/>
              <a:pPr>
                <a:defRPr/>
              </a:pPr>
              <a:t>06/03/62</a:t>
            </a:fld>
            <a:endParaRPr lang="th-TH"/>
          </a:p>
        </p:txBody>
      </p:sp>
      <p:sp>
        <p:nvSpPr>
          <p:cNvPr id="21" name="ตัวแทนท้ายกระดาษ 4"/>
          <p:cNvSpPr>
            <a:spLocks noGrp="1"/>
          </p:cNvSpPr>
          <p:nvPr>
            <p:ph type="ftr" sz="quarter" idx="11"/>
          </p:nvPr>
        </p:nvSpPr>
        <p:spPr bwMode="auto">
          <a:xfrm rot="5400000">
            <a:off x="7077076" y="4178300"/>
            <a:ext cx="3657600" cy="38417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FFF39D"/>
                </a:solidFill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22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 bwMode="auto">
          <a:xfrm>
            <a:off x="1339850" y="4929188"/>
            <a:ext cx="609600" cy="5175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92C2FDC3-DD30-45BF-8412-63BB37225E5B}" type="slidenum">
              <a:rPr lang="th-TH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867049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เนื้อหา 2 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9" name="ตัวแทนเนื้อหา 8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3657600" cy="4572000"/>
          </a:xfrm>
        </p:spPr>
        <p:txBody>
          <a:bodyPr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en-US"/>
          </a:p>
        </p:txBody>
      </p:sp>
      <p:sp>
        <p:nvSpPr>
          <p:cNvPr id="11" name="ตัวแทนเนื้อหา 10"/>
          <p:cNvSpPr>
            <a:spLocks noGrp="1"/>
          </p:cNvSpPr>
          <p:nvPr>
            <p:ph sz="quarter" idx="2"/>
          </p:nvPr>
        </p:nvSpPr>
        <p:spPr>
          <a:xfrm>
            <a:off x="4270248" y="1600200"/>
            <a:ext cx="3657600" cy="4572000"/>
          </a:xfrm>
        </p:spPr>
        <p:txBody>
          <a:bodyPr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en-US"/>
          </a:p>
        </p:txBody>
      </p:sp>
      <p:sp>
        <p:nvSpPr>
          <p:cNvPr id="5" name="ตัวแทนวันที่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9F01963E-1E24-4159-8A33-7A52532EFBE6}" type="datetime1">
              <a:rPr lang="th-TH"/>
              <a:pPr>
                <a:defRPr/>
              </a:pPr>
              <a:t>06/03/62</a:t>
            </a:fld>
            <a:endParaRPr lang="th-TH"/>
          </a:p>
        </p:txBody>
      </p:sp>
      <p:sp>
        <p:nvSpPr>
          <p:cNvPr id="6" name="ตัวแทนท้ายกระดาษ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7" name="ตัวแทนหมายเลขภาพนิ่ง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0A2B428E-0EA2-4DDC-AB56-048E184615DF}" type="slidenum">
              <a:rPr lang="th-TH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41241917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การเปรียบเทียบ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7543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11" name="ตัวแทนเนื้อหา 10"/>
          <p:cNvSpPr>
            <a:spLocks noGrp="1"/>
          </p:cNvSpPr>
          <p:nvPr>
            <p:ph sz="quarter" idx="2"/>
          </p:nvPr>
        </p:nvSpPr>
        <p:spPr>
          <a:xfrm>
            <a:off x="457200" y="2362200"/>
            <a:ext cx="3657600" cy="3886200"/>
          </a:xfrm>
        </p:spPr>
        <p:txBody>
          <a:bodyPr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en-US"/>
          </a:p>
        </p:txBody>
      </p:sp>
      <p:sp>
        <p:nvSpPr>
          <p:cNvPr id="13" name="ตัวแทนเนื้อหา 12"/>
          <p:cNvSpPr>
            <a:spLocks noGrp="1"/>
          </p:cNvSpPr>
          <p:nvPr>
            <p:ph sz="quarter" idx="4"/>
          </p:nvPr>
        </p:nvSpPr>
        <p:spPr>
          <a:xfrm>
            <a:off x="4371975" y="2362200"/>
            <a:ext cx="3657600" cy="3886200"/>
          </a:xfrm>
        </p:spPr>
        <p:txBody>
          <a:bodyPr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en-US"/>
          </a:p>
        </p:txBody>
      </p:sp>
      <p:sp>
        <p:nvSpPr>
          <p:cNvPr id="12" name="ตัวแทนข้อความ 11"/>
          <p:cNvSpPr>
            <a:spLocks noGrp="1"/>
          </p:cNvSpPr>
          <p:nvPr>
            <p:ph type="body" sz="quarter" idx="1"/>
          </p:nvPr>
        </p:nvSpPr>
        <p:spPr>
          <a:xfrm>
            <a:off x="457200" y="1569720"/>
            <a:ext cx="3657600" cy="658368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</p:spPr>
        <p:txBody>
          <a:bodyPr rtlCol="0" anchor="ctr">
            <a:noAutofit/>
          </a:bodyPr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14" name="ตัวแทนข้อความ 13"/>
          <p:cNvSpPr>
            <a:spLocks noGrp="1"/>
          </p:cNvSpPr>
          <p:nvPr>
            <p:ph type="body" sz="quarter" idx="3"/>
          </p:nvPr>
        </p:nvSpPr>
        <p:spPr>
          <a:xfrm>
            <a:off x="4343400" y="1569720"/>
            <a:ext cx="3657600" cy="658368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</p:spPr>
        <p:txBody>
          <a:bodyPr rtlCol="0" anchor="ctr">
            <a:noAutofit/>
          </a:bodyPr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7" name="ตัวแทนวันที่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B7BE2E62-9FE0-4143-B5D5-C56F71DE8998}" type="datetime1">
              <a:rPr lang="th-TH"/>
              <a:pPr>
                <a:defRPr/>
              </a:pPr>
              <a:t>06/03/62</a:t>
            </a:fld>
            <a:endParaRPr lang="th-TH"/>
          </a:p>
        </p:txBody>
      </p:sp>
      <p:sp>
        <p:nvSpPr>
          <p:cNvPr id="8" name="ตัวแทนท้ายกระดาษ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9" name="ตัวแทนหมายเลขภาพนิ่ง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30DE553C-6618-447D-8AB9-8261036AA8D6}" type="slidenum">
              <a:rPr lang="th-TH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9177758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เฉพาะชื่อเรื่อ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3" name="ตัวแทนวันที่ 5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7641B705-43E1-4877-8F78-87330531B95A}" type="datetime1">
              <a:rPr lang="th-TH"/>
              <a:pPr>
                <a:defRPr/>
              </a:pPr>
              <a:t>06/03/62</a:t>
            </a:fld>
            <a:endParaRPr lang="th-TH"/>
          </a:p>
        </p:txBody>
      </p:sp>
      <p:sp>
        <p:nvSpPr>
          <p:cNvPr id="4" name="ตัวแทนหมายเลขภาพนิ่ง 6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A46347CD-BE05-435D-BA59-432C2714A5D8}" type="slidenum">
              <a:rPr lang="th-TH"/>
              <a:pPr>
                <a:defRPr/>
              </a:pPr>
              <a:t>‹#›</a:t>
            </a:fld>
            <a:endParaRPr lang="th-TH"/>
          </a:p>
        </p:txBody>
      </p:sp>
      <p:sp>
        <p:nvSpPr>
          <p:cNvPr id="5" name="ตัวแทนท้ายกระดาษ 7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52904624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ว่างเปล่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วันที่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5A61FC22-7CB6-4D58-BA4F-D214820C4481}" type="datetime1">
              <a:rPr lang="th-TH"/>
              <a:pPr>
                <a:defRPr/>
              </a:pPr>
              <a:t>06/03/62</a:t>
            </a:fld>
            <a:endParaRPr lang="th-TH"/>
          </a:p>
        </p:txBody>
      </p:sp>
      <p:sp>
        <p:nvSpPr>
          <p:cNvPr id="3" name="ตัวแทนท้ายกระดาษ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4" name="ตัวแทนหมายเลขภาพนิ่ง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7C97EAA3-B54C-48A7-9482-776711B0AF95}" type="slidenum">
              <a:rPr lang="th-TH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415553978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เนื้อหาพร้อมคำอธิบายภาพ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ตัวเชื่อมต่อตรง 12"/>
          <p:cNvSpPr>
            <a:spLocks noChangeShapeType="1"/>
          </p:cNvSpPr>
          <p:nvPr/>
        </p:nvSpPr>
        <p:spPr bwMode="auto">
          <a:xfrm>
            <a:off x="87630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  <a:alpha val="9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800" dirty="0">
              <a:solidFill>
                <a:prstClr val="black"/>
              </a:solidFill>
              <a:cs typeface="Angsana New" pitchFamily="18" charset="-34"/>
            </a:endParaRPr>
          </a:p>
        </p:txBody>
      </p:sp>
      <p:sp>
        <p:nvSpPr>
          <p:cNvPr id="6" name="ตัวเชื่อมต่อตรง 14"/>
          <p:cNvSpPr>
            <a:spLocks noChangeShapeType="1"/>
          </p:cNvSpPr>
          <p:nvPr/>
        </p:nvSpPr>
        <p:spPr bwMode="auto">
          <a:xfrm>
            <a:off x="62484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800" dirty="0">
              <a:solidFill>
                <a:prstClr val="black"/>
              </a:solidFill>
              <a:cs typeface="Angsana New" pitchFamily="18" charset="-34"/>
            </a:endParaRPr>
          </a:p>
        </p:txBody>
      </p:sp>
      <p:sp>
        <p:nvSpPr>
          <p:cNvPr id="7" name="ตัวเชื่อมต่อตรง 17"/>
          <p:cNvSpPr>
            <a:spLocks noChangeShapeType="1"/>
          </p:cNvSpPr>
          <p:nvPr/>
        </p:nvSpPr>
        <p:spPr bwMode="auto">
          <a:xfrm>
            <a:off x="6192838" y="0"/>
            <a:ext cx="0" cy="6858000"/>
          </a:xfrm>
          <a:prstGeom prst="line">
            <a:avLst/>
          </a:prstGeom>
          <a:noFill/>
          <a:ln w="12700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prstClr val="black"/>
              </a:solidFill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8" name="ตัวเชื่อมต่อตรง 18"/>
          <p:cNvSpPr>
            <a:spLocks noChangeShapeType="1"/>
          </p:cNvSpPr>
          <p:nvPr/>
        </p:nvSpPr>
        <p:spPr bwMode="auto">
          <a:xfrm>
            <a:off x="8991600" y="0"/>
            <a:ext cx="0" cy="6858000"/>
          </a:xfrm>
          <a:prstGeom prst="line">
            <a:avLst/>
          </a:prstGeom>
          <a:noFill/>
          <a:ln w="19050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prstClr val="black"/>
              </a:solidFill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9" name="สี่เหลี่ยมผืนผ้า 18"/>
          <p:cNvSpPr/>
          <p:nvPr/>
        </p:nvSpPr>
        <p:spPr bwMode="auto">
          <a:xfrm>
            <a:off x="8839200" y="0"/>
            <a:ext cx="304800" cy="6858000"/>
          </a:xfrm>
          <a:prstGeom prst="rect">
            <a:avLst/>
          </a:prstGeom>
          <a:solidFill>
            <a:schemeClr val="accent1">
              <a:tint val="60000"/>
              <a:alpha val="87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10" name="ตัวเชื่อมต่อตรง 20"/>
          <p:cNvSpPr>
            <a:spLocks noChangeShapeType="1"/>
          </p:cNvSpPr>
          <p:nvPr/>
        </p:nvSpPr>
        <p:spPr bwMode="auto">
          <a:xfrm>
            <a:off x="8915400" y="0"/>
            <a:ext cx="0" cy="6858000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prstClr val="black"/>
              </a:solidFill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11" name="วงรี 20"/>
          <p:cNvSpPr/>
          <p:nvPr/>
        </p:nvSpPr>
        <p:spPr>
          <a:xfrm>
            <a:off x="8156575" y="5715000"/>
            <a:ext cx="549275" cy="549275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 rot="5400000">
            <a:off x="3371851" y="3200400"/>
            <a:ext cx="6309360" cy="457200"/>
          </a:xfrm>
        </p:spPr>
        <p:txBody>
          <a:bodyPr/>
          <a:lstStyle>
            <a:lvl1pPr algn="l">
              <a:buNone/>
              <a:defRPr sz="2000" b="1" cap="small" baseline="0"/>
            </a:lvl1pPr>
          </a:lstStyle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3" name="ตัวแทนข้อความ 2"/>
          <p:cNvSpPr>
            <a:spLocks noGrp="1"/>
          </p:cNvSpPr>
          <p:nvPr>
            <p:ph type="body" idx="2"/>
          </p:nvPr>
        </p:nvSpPr>
        <p:spPr>
          <a:xfrm>
            <a:off x="6812280" y="274320"/>
            <a:ext cx="1527048" cy="498348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1000"/>
              </a:spcAft>
              <a:buNone/>
              <a:defRPr sz="12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18" name="ตัวแทนเนื้อหา 17"/>
          <p:cNvSpPr>
            <a:spLocks noGrp="1"/>
          </p:cNvSpPr>
          <p:nvPr>
            <p:ph sz="quarter" idx="1"/>
          </p:nvPr>
        </p:nvSpPr>
        <p:spPr>
          <a:xfrm>
            <a:off x="304800" y="274320"/>
            <a:ext cx="5638800" cy="6327648"/>
          </a:xfrm>
        </p:spPr>
        <p:txBody>
          <a:bodyPr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en-US"/>
          </a:p>
        </p:txBody>
      </p:sp>
      <p:sp>
        <p:nvSpPr>
          <p:cNvPr id="12" name="ตัวแทนวันที่ 20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20E0ED61-7792-4F3B-998D-790AED3FA6C9}" type="datetime1">
              <a:rPr lang="th-TH"/>
              <a:pPr>
                <a:defRPr/>
              </a:pPr>
              <a:t>06/03/62</a:t>
            </a:fld>
            <a:endParaRPr lang="th-TH"/>
          </a:p>
        </p:txBody>
      </p:sp>
      <p:sp>
        <p:nvSpPr>
          <p:cNvPr id="13" name="ตัวแทนหมายเลขภาพนิ่ง 21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8473923F-83FF-41B5-BE7A-A8C2236EB46A}" type="slidenum">
              <a:rPr lang="th-TH"/>
              <a:pPr>
                <a:defRPr/>
              </a:pPr>
              <a:t>‹#›</a:t>
            </a:fld>
            <a:endParaRPr lang="th-TH"/>
          </a:p>
        </p:txBody>
      </p:sp>
      <p:sp>
        <p:nvSpPr>
          <p:cNvPr id="14" name="ตัวแทนท้ายกระดาษ 22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311446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892B0ED-4054-42B7-A893-2D57CE8DC8A6}" type="slidenum">
              <a:rPr lang="th-TH" b="1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 b="1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755575" y="296863"/>
            <a:ext cx="1" cy="558543"/>
          </a:xfrm>
          <a:prstGeom prst="line">
            <a:avLst/>
          </a:prstGeom>
          <a:ln w="19050">
            <a:solidFill>
              <a:srgbClr val="FF46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 dirty="0">
              <a:solidFill>
                <a:prstClr val="black"/>
              </a:solidFill>
              <a:latin typeface="AngsanaUPC" panose="02020603050405020304" pitchFamily="18" charset="-34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0"/>
            <a:ext cx="8915400" cy="9906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 dirty="0">
              <a:solidFill>
                <a:prstClr val="black"/>
              </a:solidFill>
              <a:latin typeface="AngsanaUPC" panose="02020603050405020304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474965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รูปภาพพร้อมคำอธิบายภาพ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ตัวเชื่อมต่อตรง 12"/>
          <p:cNvSpPr>
            <a:spLocks noChangeShapeType="1"/>
          </p:cNvSpPr>
          <p:nvPr/>
        </p:nvSpPr>
        <p:spPr bwMode="auto">
          <a:xfrm>
            <a:off x="87630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800">
              <a:solidFill>
                <a:prstClr val="black"/>
              </a:solidFill>
              <a:cs typeface="Angsana New" pitchFamily="18" charset="-34"/>
            </a:endParaRPr>
          </a:p>
        </p:txBody>
      </p:sp>
      <p:sp>
        <p:nvSpPr>
          <p:cNvPr id="6" name="วงรี 14"/>
          <p:cNvSpPr/>
          <p:nvPr/>
        </p:nvSpPr>
        <p:spPr>
          <a:xfrm>
            <a:off x="8156575" y="5715000"/>
            <a:ext cx="549275" cy="549275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7" name="ตัวเชื่อมต่อตรง 17"/>
          <p:cNvSpPr>
            <a:spLocks noChangeShapeType="1"/>
          </p:cNvSpPr>
          <p:nvPr/>
        </p:nvSpPr>
        <p:spPr bwMode="auto">
          <a:xfrm>
            <a:off x="8991600" y="0"/>
            <a:ext cx="0" cy="68580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prstClr val="black"/>
              </a:solidFill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8" name="สี่เหลี่ยมผืนผ้า 17"/>
          <p:cNvSpPr/>
          <p:nvPr/>
        </p:nvSpPr>
        <p:spPr bwMode="auto">
          <a:xfrm>
            <a:off x="8839200" y="0"/>
            <a:ext cx="304800" cy="6858000"/>
          </a:xfrm>
          <a:prstGeom prst="rect">
            <a:avLst/>
          </a:prstGeom>
          <a:solidFill>
            <a:schemeClr val="accent1">
              <a:tint val="6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9" name="ตัวเชื่อมต่อตรง 19"/>
          <p:cNvSpPr>
            <a:spLocks noChangeShapeType="1"/>
          </p:cNvSpPr>
          <p:nvPr/>
        </p:nvSpPr>
        <p:spPr bwMode="auto">
          <a:xfrm>
            <a:off x="8915400" y="0"/>
            <a:ext cx="0" cy="6858000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prstClr val="black"/>
              </a:solidFill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10" name="ตัวเชื่อมต่อตรง 19"/>
          <p:cNvSpPr>
            <a:spLocks noChangeShapeType="1"/>
          </p:cNvSpPr>
          <p:nvPr/>
        </p:nvSpPr>
        <p:spPr bwMode="auto">
          <a:xfrm>
            <a:off x="62484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800" dirty="0">
              <a:solidFill>
                <a:prstClr val="black"/>
              </a:solidFill>
              <a:cs typeface="Angsana New" pitchFamily="18" charset="-34"/>
            </a:endParaRPr>
          </a:p>
        </p:txBody>
      </p:sp>
      <p:sp>
        <p:nvSpPr>
          <p:cNvPr id="11" name="ตัวเชื่อมต่อตรง 23"/>
          <p:cNvSpPr>
            <a:spLocks noChangeShapeType="1"/>
          </p:cNvSpPr>
          <p:nvPr/>
        </p:nvSpPr>
        <p:spPr bwMode="auto">
          <a:xfrm>
            <a:off x="6192838" y="0"/>
            <a:ext cx="0" cy="6858000"/>
          </a:xfrm>
          <a:prstGeom prst="line">
            <a:avLst/>
          </a:prstGeom>
          <a:noFill/>
          <a:ln w="12700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prstClr val="black"/>
              </a:solidFill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 rot="5400000">
            <a:off x="3350133" y="3200400"/>
            <a:ext cx="6309360" cy="457200"/>
          </a:xfrm>
        </p:spPr>
        <p:txBody>
          <a:bodyPr/>
          <a:lstStyle>
            <a:lvl1pPr algn="l">
              <a:buNone/>
              <a:defRPr sz="2000" b="1"/>
            </a:lvl1pPr>
          </a:lstStyle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3" name="ตัวแทนรูปภาพ 2"/>
          <p:cNvSpPr>
            <a:spLocks noGrp="1"/>
          </p:cNvSpPr>
          <p:nvPr>
            <p:ph type="pic" idx="1"/>
          </p:nvPr>
        </p:nvSpPr>
        <p:spPr>
          <a:xfrm>
            <a:off x="0" y="0"/>
            <a:ext cx="6172200" cy="6858000"/>
          </a:xfrm>
          <a:solidFill>
            <a:schemeClr val="bg2"/>
          </a:solidFill>
          <a:ln w="1270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th-TH" noProof="0" smtClean="0"/>
              <a:t>คลิกไอคอนเพื่อเพิ่มรูปภาพ</a:t>
            </a:r>
            <a:endParaRPr lang="en-US" noProof="0" dirty="0"/>
          </a:p>
        </p:txBody>
      </p:sp>
      <p:sp>
        <p:nvSpPr>
          <p:cNvPr id="4" name="ตัวแทนข้อความ 3"/>
          <p:cNvSpPr>
            <a:spLocks noGrp="1"/>
          </p:cNvSpPr>
          <p:nvPr>
            <p:ph type="body" sz="half" idx="2"/>
          </p:nvPr>
        </p:nvSpPr>
        <p:spPr>
          <a:xfrm>
            <a:off x="6765799" y="264795"/>
            <a:ext cx="1524000" cy="4956048"/>
          </a:xfrm>
        </p:spPr>
        <p:txBody>
          <a:bodyPr rot="0" spcFirstLastPara="0" vertOverflow="overflow" horzOverflow="overflow" spcCol="274320" rtlCol="0" fromWordArt="0" forceAA="0">
            <a:normAutofit/>
          </a:bodyPr>
          <a:lstStyle>
            <a:lvl1pPr marL="0" indent="0">
              <a:spcBef>
                <a:spcPts val="100"/>
              </a:spcBef>
              <a:spcAft>
                <a:spcPts val="400"/>
              </a:spcAft>
              <a:buFontTx/>
              <a:buNone/>
              <a:defRPr sz="12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12" name="ตัวแทนวันที่ 1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5E3CE7E7-8D26-46E0-817A-CD6D33987D43}" type="datetime1">
              <a:rPr lang="th-TH"/>
              <a:pPr>
                <a:defRPr/>
              </a:pPr>
              <a:t>06/03/62</a:t>
            </a:fld>
            <a:endParaRPr lang="th-TH"/>
          </a:p>
        </p:txBody>
      </p:sp>
      <p:sp>
        <p:nvSpPr>
          <p:cNvPr id="13" name="ตัวแทนหมายเลขภาพนิ่ง 17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A2259368-1E9C-4183-81CA-082575C1B108}" type="slidenum">
              <a:rPr lang="th-TH"/>
              <a:pPr>
                <a:defRPr/>
              </a:pPr>
              <a:t>‹#›</a:t>
            </a:fld>
            <a:endParaRPr lang="th-TH"/>
          </a:p>
        </p:txBody>
      </p:sp>
      <p:sp>
        <p:nvSpPr>
          <p:cNvPr id="14" name="ตัวแทนท้ายกระดาษ 20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9314815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ชื่อเรื่องและข้อความแนวตั้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3" name="ตัวแทนข้อความแนวตั้ง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en-US"/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FCAF01DA-CBC6-4EBB-AB70-FFC95C0A5EEF}" type="datetime1">
              <a:rPr lang="th-TH"/>
              <a:pPr>
                <a:defRPr/>
              </a:pPr>
              <a:t>06/03/62</a:t>
            </a:fld>
            <a:endParaRPr lang="th-TH"/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DA4858A1-F904-461C-856F-85CF2ED290CB}" type="slidenum">
              <a:rPr lang="th-TH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43561143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ข้อความและชื่อเรื่องแนวตั้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แนวตั้ง 1"/>
          <p:cNvSpPr>
            <a:spLocks noGrp="1"/>
          </p:cNvSpPr>
          <p:nvPr>
            <p:ph type="title" orient="vert"/>
          </p:nvPr>
        </p:nvSpPr>
        <p:spPr>
          <a:xfrm>
            <a:off x="6629400" y="274644"/>
            <a:ext cx="1676400" cy="5851525"/>
          </a:xfrm>
        </p:spPr>
        <p:txBody>
          <a:bodyPr vert="eaVert"/>
          <a:lstStyle/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3" name="ตัวแทนข้อความแนวตั้ง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</p:spPr>
        <p:txBody>
          <a:bodyPr vert="eaVert"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en-US"/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5B5A6645-BD5B-49B1-B2A6-93D894341277}" type="datetime1">
              <a:rPr lang="th-TH"/>
              <a:pPr>
                <a:defRPr/>
              </a:pPr>
              <a:t>06/03/62</a:t>
            </a:fld>
            <a:endParaRPr lang="th-TH"/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7AB4629B-C509-4955-9434-0EB159CAEA34}" type="slidenum">
              <a:rPr lang="th-TH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483686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ชื่อเรื่อง ข้อความ และเนื้อห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th-TH" smtClean="0"/>
              <a:t>คลิกเพื่อแก้ไขลักษณะชื่อเรื่องต้นแบบ</a:t>
            </a:r>
            <a:endParaRPr lang="th-TH"/>
          </a:p>
        </p:txBody>
      </p:sp>
      <p:sp>
        <p:nvSpPr>
          <p:cNvPr id="3" name="ตัวแทนข้อความ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4" name="ตัวแทนเนื้อหา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5" name="ตัวแทนวันที่ 4"/>
          <p:cNvSpPr>
            <a:spLocks noGrp="1"/>
          </p:cNvSpPr>
          <p:nvPr>
            <p:ph type="dt" sz="half" idx="10"/>
          </p:nvPr>
        </p:nvSpPr>
        <p:spPr>
          <a:xfrm>
            <a:off x="685800" y="6172200"/>
            <a:ext cx="1905000" cy="457200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4B2BDEB3-6B72-4578-8B17-1DE5E52B85E0}" type="datetime1">
              <a:rPr lang="th-TH"/>
              <a:pPr>
                <a:defRPr/>
              </a:pPr>
              <a:t>06/03/62</a:t>
            </a:fld>
            <a:endParaRPr lang="th-TH"/>
          </a:p>
        </p:txBody>
      </p:sp>
      <p:sp>
        <p:nvSpPr>
          <p:cNvPr id="6" name="ตัวแทนท้ายกระดาษ 5"/>
          <p:cNvSpPr>
            <a:spLocks noGrp="1"/>
          </p:cNvSpPr>
          <p:nvPr>
            <p:ph type="ftr" sz="quarter" idx="11"/>
          </p:nvPr>
        </p:nvSpPr>
        <p:spPr>
          <a:xfrm>
            <a:off x="3124200" y="6172200"/>
            <a:ext cx="2895600" cy="457200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7" name="ตัวแทนหมายเลขภาพนิ่ง 6"/>
          <p:cNvSpPr>
            <a:spLocks noGrp="1"/>
          </p:cNvSpPr>
          <p:nvPr>
            <p:ph type="sldNum" sz="quarter" idx="12"/>
          </p:nvPr>
        </p:nvSpPr>
        <p:spPr>
          <a:xfrm>
            <a:off x="6553200" y="6172200"/>
            <a:ext cx="1905000" cy="457200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ngsana New" pitchFamily="18" charset="-34"/>
                <a:cs typeface="Angsana New" pitchFamily="18" charset="-34"/>
              </a:defRPr>
            </a:lvl1pPr>
          </a:lstStyle>
          <a:p>
            <a:pPr>
              <a:defRPr/>
            </a:pPr>
            <a:fld id="{666AAC65-6E77-4B03-B1C1-D549869E8C71}" type="slidenum">
              <a:rPr lang="en-US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59178079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Title Text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/>
              <a:t>Body Level One</a:t>
            </a:r>
          </a:p>
          <a:p>
            <a:pPr lvl="1"/>
            <a:r>
              <a:rPr/>
              <a:t>Body Level Two</a:t>
            </a:r>
          </a:p>
          <a:p>
            <a:pPr lvl="2"/>
            <a:r>
              <a:rPr/>
              <a:t>Body Level Three</a:t>
            </a:r>
          </a:p>
          <a:p>
            <a:pPr lvl="3"/>
            <a:r>
              <a:rPr/>
              <a:t>Body Level Four</a:t>
            </a:r>
          </a:p>
          <a:p>
            <a:pPr lvl="4"/>
            <a:r>
              <a:rPr/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257780889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533399" y="6239849"/>
            <a:ext cx="8251825" cy="4371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white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7337" y="4581128"/>
            <a:ext cx="4308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90085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647413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08423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515387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755575" y="296863"/>
            <a:ext cx="1" cy="558543"/>
          </a:xfrm>
          <a:prstGeom prst="line">
            <a:avLst/>
          </a:prstGeom>
          <a:ln w="19050">
            <a:solidFill>
              <a:srgbClr val="FF46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 sz="2400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0"/>
            <a:ext cx="8915400" cy="9906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 sz="2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347140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892B0ED-4054-42B7-A893-2D57CE8DC8A6}" type="slidenum">
              <a:rPr lang="th-TH" b="1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 b="1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 dirty="0">
              <a:solidFill>
                <a:prstClr val="black"/>
              </a:solidFill>
              <a:latin typeface="AngsanaUPC" panose="02020603050405020304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646097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6D83A46-A5C8-4ADC-A7FC-C178C77114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 sz="2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722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 sz="2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847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 sz="2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58687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 sz="2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99888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 sz="2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08615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2BD92BF-F03A-4A0A-A7B9-61662E8E30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25332B7-E96F-40AF-987A-21A9BD140C81}" type="datetime1">
              <a:rPr lang="th-TH" smtClean="0">
                <a:solidFill>
                  <a:prstClr val="black"/>
                </a:solidFill>
              </a:rPr>
              <a:pPr>
                <a:defRPr/>
              </a:pPr>
              <a:t>06/03/6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084E0ED-4589-4656-82CE-1A4A4ADEE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7337" y="4581128"/>
            <a:ext cx="4308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340859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476040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85863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72685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9983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892B0ED-4054-42B7-A893-2D57CE8DC8A6}" type="slidenum">
              <a:rPr lang="th-TH" b="1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 b="1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 dirty="0">
              <a:solidFill>
                <a:prstClr val="black"/>
              </a:solidFill>
              <a:latin typeface="AngsanaUPC" panose="02020603050405020304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4247780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40405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02551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0841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06285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13571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88099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7477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41703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  <a:lvl2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2pPr>
            <a:lvl3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3pPr>
            <a:lvl4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4pPr>
            <a:lvl5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5pPr>
          </a:lstStyle>
          <a:p>
            <a:pPr lvl="0"/>
            <a:r>
              <a:rPr lang="da-DK" dirty="0" smtClean="0"/>
              <a:t>Click to edit Master text styles</a:t>
            </a:r>
          </a:p>
          <a:p>
            <a:pPr lvl="1"/>
            <a:r>
              <a:rPr lang="da-DK" dirty="0" smtClean="0"/>
              <a:t>Second level</a:t>
            </a:r>
          </a:p>
          <a:p>
            <a:pPr lvl="2"/>
            <a:r>
              <a:rPr lang="da-DK" dirty="0" smtClean="0"/>
              <a:t>Third level</a:t>
            </a:r>
          </a:p>
          <a:p>
            <a:pPr lvl="3"/>
            <a:r>
              <a:rPr lang="da-DK" dirty="0" smtClean="0"/>
              <a:t>Fourth level</a:t>
            </a:r>
          </a:p>
          <a:p>
            <a:pPr lvl="4"/>
            <a:r>
              <a:rPr lang="da-DK" dirty="0" smtClean="0"/>
              <a:t>Fifth level</a:t>
            </a:r>
            <a:endParaRPr lang="en-US" dirty="0"/>
          </a:p>
        </p:txBody>
      </p:sp>
      <p:pic>
        <p:nvPicPr>
          <p:cNvPr id="15" name="Picture 94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2862" y="6624981"/>
            <a:ext cx="180000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4" name="Group 33"/>
          <p:cNvGrpSpPr/>
          <p:nvPr/>
        </p:nvGrpSpPr>
        <p:grpSpPr>
          <a:xfrm>
            <a:off x="3175" y="0"/>
            <a:ext cx="9153827" cy="900000"/>
            <a:chOff x="3175" y="0"/>
            <a:chExt cx="9153827" cy="900000"/>
          </a:xfrm>
        </p:grpSpPr>
        <p:sp>
          <p:nvSpPr>
            <p:cNvPr id="25" name="Rectangle 24"/>
            <p:cNvSpPr/>
            <p:nvPr userDrawn="1"/>
          </p:nvSpPr>
          <p:spPr>
            <a:xfrm>
              <a:off x="3175" y="0"/>
              <a:ext cx="9139919" cy="900000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75000"/>
                  </a:schemeClr>
                </a:gs>
                <a:gs pos="0">
                  <a:schemeClr val="accent1">
                    <a:lumMod val="75000"/>
                  </a:schemeClr>
                </a:gs>
              </a:gsLst>
              <a:path path="circle">
                <a:fillToRect l="50000" t="50000" r="50000" b="50000"/>
              </a:path>
            </a:gradFill>
            <a:ln w="3175">
              <a:noFill/>
            </a:ln>
            <a:effectLst>
              <a:outerShdw blurRad="38100" dist="12700" dir="5400000" algn="t" rotWithShape="0">
                <a:prstClr val="black">
                  <a:alpha val="35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</a:endParaRPr>
            </a:p>
          </p:txBody>
        </p:sp>
        <p:cxnSp>
          <p:nvCxnSpPr>
            <p:cNvPr id="26" name="Straight Connector 25"/>
            <p:cNvCxnSpPr/>
            <p:nvPr userDrawn="1"/>
          </p:nvCxnSpPr>
          <p:spPr>
            <a:xfrm>
              <a:off x="13002" y="757309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002" y="180742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7337" y="4581128"/>
            <a:ext cx="4308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2050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  <a:lvl2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2pPr>
            <a:lvl3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3pPr>
            <a:lvl4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4pPr>
            <a:lvl5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5pPr>
          </a:lstStyle>
          <a:p>
            <a:pPr lvl="0"/>
            <a:r>
              <a:rPr lang="da-DK" dirty="0" smtClean="0"/>
              <a:t>Click to edit Master text styles</a:t>
            </a:r>
          </a:p>
          <a:p>
            <a:pPr lvl="1"/>
            <a:r>
              <a:rPr lang="da-DK" dirty="0" smtClean="0"/>
              <a:t>Second level</a:t>
            </a:r>
          </a:p>
          <a:p>
            <a:pPr lvl="2"/>
            <a:r>
              <a:rPr lang="da-DK" dirty="0" smtClean="0"/>
              <a:t>Third level</a:t>
            </a:r>
          </a:p>
          <a:p>
            <a:pPr lvl="3"/>
            <a:r>
              <a:rPr lang="da-DK" dirty="0" smtClean="0"/>
              <a:t>Fourth level</a:t>
            </a:r>
          </a:p>
          <a:p>
            <a:pPr lvl="4"/>
            <a:r>
              <a:rPr lang="da-DK" dirty="0" smtClean="0"/>
              <a:t>Fifth level</a:t>
            </a:r>
            <a:endParaRPr lang="en-US" dirty="0"/>
          </a:p>
        </p:txBody>
      </p:sp>
      <p:pic>
        <p:nvPicPr>
          <p:cNvPr id="15" name="Picture 94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2862" y="6624981"/>
            <a:ext cx="180000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4" name="Group 33"/>
          <p:cNvGrpSpPr/>
          <p:nvPr/>
        </p:nvGrpSpPr>
        <p:grpSpPr>
          <a:xfrm>
            <a:off x="3175" y="0"/>
            <a:ext cx="9153827" cy="900000"/>
            <a:chOff x="3175" y="0"/>
            <a:chExt cx="9153827" cy="900000"/>
          </a:xfrm>
        </p:grpSpPr>
        <p:sp>
          <p:nvSpPr>
            <p:cNvPr id="25" name="Rectangle 24"/>
            <p:cNvSpPr/>
            <p:nvPr userDrawn="1"/>
          </p:nvSpPr>
          <p:spPr>
            <a:xfrm>
              <a:off x="3175" y="0"/>
              <a:ext cx="9139919" cy="900000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75000"/>
                  </a:schemeClr>
                </a:gs>
                <a:gs pos="0">
                  <a:schemeClr val="accent1">
                    <a:lumMod val="75000"/>
                  </a:schemeClr>
                </a:gs>
              </a:gsLst>
              <a:path path="circle">
                <a:fillToRect l="50000" t="50000" r="50000" b="50000"/>
              </a:path>
            </a:gradFill>
            <a:ln w="3175">
              <a:noFill/>
            </a:ln>
            <a:effectLst>
              <a:outerShdw blurRad="38100" dist="12700" dir="5400000" algn="t" rotWithShape="0">
                <a:prstClr val="black">
                  <a:alpha val="35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</a:endParaRPr>
            </a:p>
          </p:txBody>
        </p:sp>
        <p:cxnSp>
          <p:nvCxnSpPr>
            <p:cNvPr id="26" name="Straight Connector 25"/>
            <p:cNvCxnSpPr/>
            <p:nvPr userDrawn="1"/>
          </p:nvCxnSpPr>
          <p:spPr>
            <a:xfrm>
              <a:off x="13002" y="757309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002" y="180742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7337" y="4581128"/>
            <a:ext cx="4308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96694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892B0ED-4054-42B7-A893-2D57CE8DC8A6}" type="slidenum">
              <a:rPr lang="th-TH" b="1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 b="1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 dirty="0">
              <a:solidFill>
                <a:prstClr val="black"/>
              </a:solidFill>
              <a:latin typeface="AngsanaUPC" panose="02020603050405020304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111472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69207" y="4653136"/>
            <a:ext cx="430893" cy="3651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31312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69207" y="4653136"/>
            <a:ext cx="430893" cy="3651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465798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421438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421438"/>
            <a:ext cx="2895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B82192-A92C-4130-93DB-F9A96142D26E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th-T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844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46347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897326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171740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673508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34617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239233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957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892B0ED-4054-42B7-A893-2D57CE8DC8A6}" type="slidenum">
              <a:rPr lang="th-TH" b="1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 b="1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400" b="1" dirty="0">
              <a:solidFill>
                <a:prstClr val="black"/>
              </a:solidFill>
              <a:latin typeface="AngsanaUPC" panose="02020603050405020304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136040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7724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676400"/>
            <a:ext cx="7772400" cy="4419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5332B7-E96F-40AF-987A-21A9BD140C81}" type="datetime1">
              <a:rPr lang="th-TH" smtClean="0">
                <a:solidFill>
                  <a:prstClr val="black"/>
                </a:solidFill>
              </a:rPr>
              <a:pPr>
                <a:defRPr/>
              </a:pPr>
              <a:t>06/03/6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7337" y="4581128"/>
            <a:ext cx="4308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7176226"/>
      </p:ext>
    </p:extLst>
  </p:cSld>
  <p:clrMapOvr>
    <a:masterClrMapping/>
  </p:clrMapOvr>
  <p:transition>
    <p:strips dir="ru"/>
  </p:transition>
  <p:timing>
    <p:tnLst>
      <p:par>
        <p:cTn id="1" dur="indefinite" restart="never" nodeType="tmRoot"/>
      </p:par>
    </p:tnLst>
  </p:timing>
  <p:hf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ว่างเปล่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วันที่ 3"/>
          <p:cNvSpPr>
            <a:spLocks noGrp="1"/>
          </p:cNvSpPr>
          <p:nvPr>
            <p:ph type="dt" sz="half" idx="10"/>
          </p:nvPr>
        </p:nvSpPr>
        <p:spPr>
          <a:xfrm>
            <a:off x="457200" y="6356397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FF21C6-1C68-4CA3-ABDD-550F45D0D9AB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ตัวแทนท้ายกระดาษ 4"/>
          <p:cNvSpPr>
            <a:spLocks noGrp="1"/>
          </p:cNvSpPr>
          <p:nvPr>
            <p:ph type="ftr" sz="quarter" idx="11"/>
          </p:nvPr>
        </p:nvSpPr>
        <p:spPr>
          <a:xfrm>
            <a:off x="3124200" y="6356397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EC4AB7-1BB9-49CE-8842-E2D8182EE8F3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4867676"/>
      </p:ext>
    </p:extLst>
  </p:cSld>
  <p:clrMapOvr>
    <a:masterClrMapping/>
  </p:clrMapOvr>
  <p:transition spd="med" advClick="0" advTm="700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533399" y="6239849"/>
            <a:ext cx="8251825" cy="4371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sz="2800">
              <a:solidFill>
                <a:prstClr val="white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7337" y="4581128"/>
            <a:ext cx="4308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80880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04668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06671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69303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755575" y="296863"/>
            <a:ext cx="1" cy="558543"/>
          </a:xfrm>
          <a:prstGeom prst="line">
            <a:avLst/>
          </a:prstGeom>
          <a:ln w="19050">
            <a:solidFill>
              <a:srgbClr val="FF46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th-TH" sz="2400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0"/>
            <a:ext cx="8915400" cy="9906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th-TH" sz="2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87127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6D83A46-A5C8-4ADC-A7FC-C178C77114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th-TH" sz="2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993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th-TH" sz="2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13144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6019800"/>
            <a:ext cx="9144000" cy="83820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th-TH" sz="2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74502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88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38" Type="http://schemas.openxmlformats.org/officeDocument/2006/relationships/theme" Target="../theme/theme5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slideLayout" Target="../slideLayouts/slideLayout83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slideLayout" Target="../slideLayouts/slideLayout91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slideLayout" Target="../slideLayouts/slideLayout85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slideLayout" Target="../slideLayouts/slideLayout8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slideLayout" Target="../slideLayouts/slideLayout109.xml"/><Relationship Id="rId26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112.xml"/><Relationship Id="rId34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5" Type="http://schemas.openxmlformats.org/officeDocument/2006/relationships/slideLayout" Target="../slideLayouts/slideLayout116.xml"/><Relationship Id="rId33" Type="http://schemas.openxmlformats.org/officeDocument/2006/relationships/slideLayout" Target="../slideLayouts/slideLayout124.xml"/><Relationship Id="rId38" Type="http://schemas.openxmlformats.org/officeDocument/2006/relationships/theme" Target="../theme/theme6.xml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0" Type="http://schemas.openxmlformats.org/officeDocument/2006/relationships/slideLayout" Target="../slideLayouts/slideLayout111.xml"/><Relationship Id="rId29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24" Type="http://schemas.openxmlformats.org/officeDocument/2006/relationships/slideLayout" Target="../slideLayouts/slideLayout115.xml"/><Relationship Id="rId32" Type="http://schemas.openxmlformats.org/officeDocument/2006/relationships/slideLayout" Target="../slideLayouts/slideLayout123.xml"/><Relationship Id="rId37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23" Type="http://schemas.openxmlformats.org/officeDocument/2006/relationships/slideLayout" Target="../slideLayouts/slideLayout114.xml"/><Relationship Id="rId28" Type="http://schemas.openxmlformats.org/officeDocument/2006/relationships/slideLayout" Target="../slideLayouts/slideLayout119.xml"/><Relationship Id="rId36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1.xml"/><Relationship Id="rId19" Type="http://schemas.openxmlformats.org/officeDocument/2006/relationships/slideLayout" Target="../slideLayouts/slideLayout110.xml"/><Relationship Id="rId31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Relationship Id="rId22" Type="http://schemas.openxmlformats.org/officeDocument/2006/relationships/slideLayout" Target="../slideLayouts/slideLayout113.xml"/><Relationship Id="rId27" Type="http://schemas.openxmlformats.org/officeDocument/2006/relationships/slideLayout" Target="../slideLayouts/slideLayout118.xml"/><Relationship Id="rId30" Type="http://schemas.openxmlformats.org/officeDocument/2006/relationships/slideLayout" Target="../slideLayouts/slideLayout121.xml"/><Relationship Id="rId35" Type="http://schemas.openxmlformats.org/officeDocument/2006/relationships/slideLayout" Target="../slideLayouts/slideLayout1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7337" y="4581128"/>
            <a:ext cx="4308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pPr>
              <a:defRPr/>
            </a:pPr>
            <a:fld id="{8892B0ED-4054-42B7-A893-2D57CE8DC8A6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035454" y="0"/>
            <a:ext cx="107504" cy="3789040"/>
          </a:xfrm>
          <a:prstGeom prst="rect">
            <a:avLst/>
          </a:prstGeom>
          <a:solidFill>
            <a:srgbClr val="FF46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800" dirty="0">
                <a:solidFill>
                  <a:prstClr val="white"/>
                </a:solidFill>
                <a:latin typeface="AngsanaUPC" panose="02020603050405020304" pitchFamily="18" charset="-34"/>
              </a:rPr>
              <a:t> </a:t>
            </a:r>
            <a:endParaRPr lang="th-TH" sz="2800" dirty="0">
              <a:solidFill>
                <a:prstClr val="white"/>
              </a:solidFill>
              <a:latin typeface="AngsanaUPC" panose="02020603050405020304" pitchFamily="18" charset="-34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035454" y="3789040"/>
            <a:ext cx="107504" cy="432048"/>
          </a:xfrm>
          <a:prstGeom prst="rect">
            <a:avLst/>
          </a:prstGeom>
          <a:solidFill>
            <a:srgbClr val="F9C5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800" dirty="0">
                <a:solidFill>
                  <a:prstClr val="white"/>
                </a:solidFill>
                <a:latin typeface="AngsanaUPC" panose="02020603050405020304" pitchFamily="18" charset="-34"/>
              </a:rPr>
              <a:t> </a:t>
            </a:r>
            <a:endParaRPr lang="th-TH" sz="2800" dirty="0">
              <a:solidFill>
                <a:prstClr val="white"/>
              </a:solidFill>
              <a:latin typeface="AngsanaUPC" panose="02020603050405020304" pitchFamily="18" charset="-34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035454" y="4221088"/>
            <a:ext cx="107504" cy="432048"/>
          </a:xfrm>
          <a:prstGeom prst="rect">
            <a:avLst/>
          </a:prstGeom>
          <a:solidFill>
            <a:srgbClr val="726F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800" dirty="0">
                <a:solidFill>
                  <a:prstClr val="white"/>
                </a:solidFill>
                <a:latin typeface="AngsanaUPC" panose="02020603050405020304" pitchFamily="18" charset="-34"/>
              </a:rPr>
              <a:t> </a:t>
            </a:r>
            <a:endParaRPr lang="th-TH" sz="2800" dirty="0">
              <a:solidFill>
                <a:prstClr val="white"/>
              </a:solidFill>
              <a:latin typeface="AngsanaUPC" panose="02020603050405020304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481942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26">
          <p15:clr>
            <a:srgbClr val="F26B43"/>
          </p15:clr>
        </p15:guide>
        <p15:guide id="2" pos="5534">
          <p15:clr>
            <a:srgbClr val="F26B43"/>
          </p15:clr>
        </p15:guide>
        <p15:guide id="3" orient="horz" pos="187">
          <p15:clr>
            <a:srgbClr val="F26B43"/>
          </p15:clr>
        </p15:guide>
        <p15:guide id="4" orient="horz" pos="390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EECB58-30F5-4206-92B2-08578801700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6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DFAA92-E916-4C63-94E0-A19008EDC067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76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ตัวแทนชื่อเรื่อง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h-TH" dirty="0" smtClean="0"/>
              <a:t>คลิกเพื่อแก้ไขลักษณะชื่อเรื่องต้นแบบ</a:t>
            </a:r>
          </a:p>
        </p:txBody>
      </p:sp>
      <p:sp>
        <p:nvSpPr>
          <p:cNvPr id="1027" name="ตัวแทนข้อความ 2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2"/>
          </p:nvPr>
        </p:nvSpPr>
        <p:spPr>
          <a:xfrm>
            <a:off x="457200" y="635641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62ADA6A-A23F-482F-85DB-4368DBC4B81E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/03/62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3"/>
          </p:nvPr>
        </p:nvSpPr>
        <p:spPr>
          <a:xfrm>
            <a:off x="3124200" y="635641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4"/>
          </p:nvPr>
        </p:nvSpPr>
        <p:spPr>
          <a:xfrm>
            <a:off x="6553200" y="635641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F843F73-4FC1-4D1A-B340-0400BC4A7E79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0179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</p:sldLayoutIdLst>
  <p:transition spd="med" advClick="0" advTm="7000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Angsana New" pitchFamily="18" charset="-34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ตัวเชื่อมต่อตรง 15"/>
          <p:cNvSpPr>
            <a:spLocks noChangeShapeType="1"/>
          </p:cNvSpPr>
          <p:nvPr/>
        </p:nvSpPr>
        <p:spPr bwMode="auto">
          <a:xfrm>
            <a:off x="87630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  <a:alpha val="9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800" dirty="0">
              <a:solidFill>
                <a:prstClr val="black"/>
              </a:solidFill>
              <a:cs typeface="Angsana New" pitchFamily="18" charset="-34"/>
            </a:endParaRPr>
          </a:p>
        </p:txBody>
      </p:sp>
      <p:sp>
        <p:nvSpPr>
          <p:cNvPr id="22" name="ตัวแทนชื่อเรื่อง 2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9220" name="ตัวแทนข้อความ 1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7467600" cy="487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h-TH" altLang="en-US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altLang="en-US" smtClean="0"/>
              <a:t>ระดับที่สอง</a:t>
            </a:r>
          </a:p>
          <a:p>
            <a:pPr lvl="2"/>
            <a:r>
              <a:rPr lang="th-TH" altLang="en-US" smtClean="0"/>
              <a:t>ระดับที่สาม</a:t>
            </a:r>
          </a:p>
          <a:p>
            <a:pPr lvl="3"/>
            <a:r>
              <a:rPr lang="th-TH" altLang="en-US" smtClean="0"/>
              <a:t>ระดับที่สี่</a:t>
            </a:r>
          </a:p>
          <a:p>
            <a:pPr lvl="4"/>
            <a:r>
              <a:rPr lang="th-TH" altLang="en-US" smtClean="0"/>
              <a:t>ระดับที่ห้า</a:t>
            </a:r>
            <a:endParaRPr lang="en-US" altLang="en-US" smtClean="0"/>
          </a:p>
        </p:txBody>
      </p:sp>
      <p:sp>
        <p:nvSpPr>
          <p:cNvPr id="14" name="ตัวแทนวันที่ 13"/>
          <p:cNvSpPr>
            <a:spLocks noGrp="1"/>
          </p:cNvSpPr>
          <p:nvPr>
            <p:ph type="dt" sz="half" idx="2"/>
          </p:nvPr>
        </p:nvSpPr>
        <p:spPr>
          <a:xfrm rot="5400000">
            <a:off x="7589045" y="1081881"/>
            <a:ext cx="2011362" cy="384175"/>
          </a:xfrm>
          <a:prstGeom prst="rect">
            <a:avLst/>
          </a:prstGeom>
        </p:spPr>
        <p:txBody>
          <a:bodyPr vert="horz" anchor="ctr" anchorCtr="0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rgbClr val="575F6D"/>
                </a:solidFill>
                <a:latin typeface="Century Schoolbook"/>
                <a:cs typeface="KodchiangUPC"/>
              </a:defRPr>
            </a:lvl1pPr>
          </a:lstStyle>
          <a:p>
            <a:pPr>
              <a:defRPr/>
            </a:pPr>
            <a:fld id="{39EF4718-7A87-4C5C-8E85-4FF775466E64}" type="datetime1">
              <a:rPr lang="th-TH"/>
              <a:pPr>
                <a:defRPr/>
              </a:pPr>
              <a:t>06/03/62</a:t>
            </a:fld>
            <a:endParaRPr lang="th-TH"/>
          </a:p>
        </p:txBody>
      </p:sp>
      <p:sp>
        <p:nvSpPr>
          <p:cNvPr id="3" name="ตัวแทนท้ายกระดาษ 2"/>
          <p:cNvSpPr>
            <a:spLocks noGrp="1"/>
          </p:cNvSpPr>
          <p:nvPr>
            <p:ph type="ftr" sz="quarter" idx="3"/>
          </p:nvPr>
        </p:nvSpPr>
        <p:spPr>
          <a:xfrm rot="5400000">
            <a:off x="6989763" y="3736975"/>
            <a:ext cx="32004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rgbClr val="575F6D"/>
                </a:solidFill>
                <a:latin typeface="Century Schoolbook"/>
                <a:cs typeface="KodchiangUPC"/>
              </a:defRPr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7" name="ตัวเชื่อมต่อตรง 6"/>
          <p:cNvSpPr>
            <a:spLocks noChangeShapeType="1"/>
          </p:cNvSpPr>
          <p:nvPr/>
        </p:nvSpPr>
        <p:spPr bwMode="auto">
          <a:xfrm>
            <a:off x="76200" y="0"/>
            <a:ext cx="0" cy="6858000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2800">
              <a:solidFill>
                <a:prstClr val="black"/>
              </a:solidFill>
              <a:cs typeface="Angsana New" pitchFamily="18" charset="-34"/>
            </a:endParaRPr>
          </a:p>
        </p:txBody>
      </p:sp>
      <p:sp>
        <p:nvSpPr>
          <p:cNvPr id="9224" name="ตัวเชื่อมต่อตรง 8"/>
          <p:cNvSpPr>
            <a:spLocks noChangeShapeType="1"/>
          </p:cNvSpPr>
          <p:nvPr/>
        </p:nvSpPr>
        <p:spPr bwMode="auto">
          <a:xfrm>
            <a:off x="8991600" y="0"/>
            <a:ext cx="0" cy="6858000"/>
          </a:xfrm>
          <a:prstGeom prst="line">
            <a:avLst/>
          </a:prstGeom>
          <a:noFill/>
          <a:ln w="19050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prstClr val="black"/>
              </a:solidFill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10" name="สี่เหลี่ยมผืนผ้า 9"/>
          <p:cNvSpPr/>
          <p:nvPr/>
        </p:nvSpPr>
        <p:spPr bwMode="auto">
          <a:xfrm>
            <a:off x="8839200" y="0"/>
            <a:ext cx="304800" cy="6858000"/>
          </a:xfrm>
          <a:prstGeom prst="rect">
            <a:avLst/>
          </a:prstGeom>
          <a:solidFill>
            <a:schemeClr val="accent1">
              <a:tint val="60000"/>
              <a:alpha val="87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9226" name="ตัวเชื่อมต่อตรง 10"/>
          <p:cNvSpPr>
            <a:spLocks noChangeShapeType="1"/>
          </p:cNvSpPr>
          <p:nvPr/>
        </p:nvSpPr>
        <p:spPr bwMode="auto">
          <a:xfrm>
            <a:off x="8915400" y="0"/>
            <a:ext cx="0" cy="6858000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prstClr val="black"/>
              </a:solidFill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12" name="วงรี 11"/>
          <p:cNvSpPr/>
          <p:nvPr/>
        </p:nvSpPr>
        <p:spPr>
          <a:xfrm>
            <a:off x="8156575" y="5715000"/>
            <a:ext cx="549275" cy="549275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23" name="ตัวแทนหมายเลขภาพนิ่ง 22"/>
          <p:cNvSpPr>
            <a:spLocks noGrp="1"/>
          </p:cNvSpPr>
          <p:nvPr>
            <p:ph type="sldNum" sz="quarter" idx="4"/>
          </p:nvPr>
        </p:nvSpPr>
        <p:spPr>
          <a:xfrm>
            <a:off x="8129588" y="5734050"/>
            <a:ext cx="609600" cy="520700"/>
          </a:xfrm>
          <a:prstGeom prst="rect">
            <a:avLst/>
          </a:prstGeom>
        </p:spPr>
        <p:txBody>
          <a:bodyPr vert="horz" anchor="ctr"/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 b="1">
                <a:solidFill>
                  <a:srgbClr val="FFFFFF"/>
                </a:solidFill>
                <a:latin typeface="Century Schoolbook"/>
                <a:cs typeface="KodchiangUPC"/>
              </a:defRPr>
            </a:lvl1pPr>
          </a:lstStyle>
          <a:p>
            <a:pPr>
              <a:defRPr/>
            </a:pPr>
            <a:fld id="{C80FBA50-C265-4E5A-82A0-CE88B9BEC8B5}" type="slidenum">
              <a:rPr lang="th-TH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494370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kern="1200" cap="small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Century Schoolbook" pitchFamily="18" charset="0"/>
          <a:cs typeface="KodchiangUPC" pitchFamily="18" charset="-34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Century Schoolbook" pitchFamily="18" charset="0"/>
          <a:cs typeface="KodchiangUPC" pitchFamily="18" charset="-34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Century Schoolbook" pitchFamily="18" charset="0"/>
          <a:cs typeface="KodchiangUPC" pitchFamily="18" charset="-34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Century Schoolbook" pitchFamily="18" charset="0"/>
          <a:cs typeface="KodchiangUPC" pitchFamily="18" charset="-34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Century Schoolbook" pitchFamily="18" charset="0"/>
          <a:cs typeface="KodchiangUPC" pitchFamily="18" charset="-34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Century Schoolbook" pitchFamily="18" charset="0"/>
          <a:cs typeface="KodchiangUPC" pitchFamily="18" charset="-34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Century Schoolbook" pitchFamily="18" charset="0"/>
          <a:cs typeface="KodchiangUPC" pitchFamily="18" charset="-34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Century Schoolbook" pitchFamily="18" charset="0"/>
          <a:cs typeface="KodchiangUPC" pitchFamily="18" charset="-34"/>
        </a:defRPr>
      </a:lvl9pPr>
    </p:titleStyle>
    <p:bodyStyle>
      <a:lvl1pPr marL="273050" indent="-273050" algn="l" rtl="0" eaLnBrk="0" fontAlgn="base" hangingPunct="0">
        <a:spcBef>
          <a:spcPts val="600"/>
        </a:spcBef>
        <a:spcAft>
          <a:spcPct val="0"/>
        </a:spcAft>
        <a:buClr>
          <a:schemeClr val="accent1"/>
        </a:buClr>
        <a:buSzPct val="70000"/>
        <a:buFont typeface="Wingdings" pitchFamily="2" charset="2"/>
        <a:buChar char="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 2" pitchFamily="18" charset="2"/>
        <a:buChar char="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182563" algn="l" rtl="0" eaLnBrk="0" fontAlgn="base" hangingPunct="0">
        <a:spcBef>
          <a:spcPct val="20000"/>
        </a:spcBef>
        <a:spcAft>
          <a:spcPct val="0"/>
        </a:spcAft>
        <a:buClr>
          <a:srgbClr val="E0752F"/>
        </a:buClr>
        <a:buSzPct val="60000"/>
        <a:buFont typeface="Wingdings" pitchFamily="2" charset="2"/>
        <a:buChar char="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187450" indent="-182563" algn="l" rtl="0" eaLnBrk="0" fontAlgn="base" hangingPunct="0">
        <a:spcBef>
          <a:spcPct val="20000"/>
        </a:spcBef>
        <a:spcAft>
          <a:spcPct val="0"/>
        </a:spcAft>
        <a:buClr>
          <a:srgbClr val="FEC3AE"/>
        </a:buClr>
        <a:buSzPct val="60000"/>
        <a:buFont typeface="Wingdings" pitchFamily="2" charset="2"/>
        <a:buChar char="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462088" indent="-182563" algn="l" rtl="0" eaLnBrk="0" fontAlgn="base" hangingPunct="0">
        <a:spcBef>
          <a:spcPct val="20000"/>
        </a:spcBef>
        <a:spcAft>
          <a:spcPct val="0"/>
        </a:spcAft>
        <a:buClr>
          <a:srgbClr val="BDCAE9"/>
        </a:buClr>
        <a:buSzPct val="68000"/>
        <a:buFont typeface="Wingdings 2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182880" algn="l" rtl="0" eaLnBrk="1" latinLnBrk="0" hangingPunct="1">
        <a:spcBef>
          <a:spcPct val="20000"/>
        </a:spcBef>
        <a:buClr>
          <a:schemeClr val="accent1"/>
        </a:buClr>
        <a:buChar char="•"/>
        <a:defRPr kumimoji="0"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2011680" indent="-182880" algn="l" rtl="0" eaLnBrk="1" latinLnBrk="0" hangingPunct="1">
        <a:spcBef>
          <a:spcPct val="20000"/>
        </a:spcBef>
        <a:buClr>
          <a:schemeClr val="accent1">
            <a:tint val="60000"/>
          </a:schemeClr>
        </a:buClr>
        <a:buSzPct val="60000"/>
        <a:buFont typeface="Wingdings"/>
        <a:buChar char="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2286000" indent="-182880" algn="l" rtl="0" eaLnBrk="1" latinLnBrk="0" hangingPunct="1">
        <a:spcBef>
          <a:spcPct val="20000"/>
        </a:spcBef>
        <a:buClr>
          <a:schemeClr val="accent2"/>
        </a:buClr>
        <a:buChar char="•"/>
        <a:defRPr kumimoji="0" sz="1400" kern="1200" cap="small" baseline="0">
          <a:solidFill>
            <a:schemeClr val="tx2"/>
          </a:solidFill>
          <a:latin typeface="+mn-lt"/>
          <a:ea typeface="+mn-ea"/>
          <a:cs typeface="+mn-cs"/>
        </a:defRPr>
      </a:lvl8pPr>
      <a:lvl9pPr marL="2560320" indent="-182880" algn="l" rtl="0" eaLnBrk="1" latinLnBrk="0" hangingPunct="1">
        <a:spcBef>
          <a:spcPct val="20000"/>
        </a:spcBef>
        <a:buClr>
          <a:schemeClr val="accent1">
            <a:shade val="75000"/>
          </a:schemeClr>
        </a:buClr>
        <a:buChar char="•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7337" y="4581128"/>
            <a:ext cx="4308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pPr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035454" y="0"/>
            <a:ext cx="107504" cy="3789040"/>
          </a:xfrm>
          <a:prstGeom prst="rect">
            <a:avLst/>
          </a:prstGeom>
          <a:solidFill>
            <a:srgbClr val="FF46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 </a:t>
            </a:r>
            <a:endParaRPr lang="th-TH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035454" y="3789040"/>
            <a:ext cx="107504" cy="432048"/>
          </a:xfrm>
          <a:prstGeom prst="rect">
            <a:avLst/>
          </a:prstGeom>
          <a:solidFill>
            <a:srgbClr val="F9C5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 </a:t>
            </a:r>
            <a:endParaRPr lang="th-TH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035454" y="4221088"/>
            <a:ext cx="107504" cy="432048"/>
          </a:xfrm>
          <a:prstGeom prst="rect">
            <a:avLst/>
          </a:prstGeom>
          <a:solidFill>
            <a:srgbClr val="726F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 </a:t>
            </a:r>
            <a:endParaRPr lang="th-TH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551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  <p:sldLayoutId id="2147483743" r:id="rId25"/>
    <p:sldLayoutId id="2147483744" r:id="rId26"/>
    <p:sldLayoutId id="2147483745" r:id="rId27"/>
    <p:sldLayoutId id="2147483746" r:id="rId28"/>
    <p:sldLayoutId id="2147483747" r:id="rId29"/>
    <p:sldLayoutId id="2147483748" r:id="rId30"/>
    <p:sldLayoutId id="2147483749" r:id="rId31"/>
    <p:sldLayoutId id="2147483750" r:id="rId32"/>
    <p:sldLayoutId id="2147483751" r:id="rId33"/>
    <p:sldLayoutId id="2147483752" r:id="rId34"/>
    <p:sldLayoutId id="2147483753" r:id="rId35"/>
    <p:sldLayoutId id="2147483754" r:id="rId36"/>
    <p:sldLayoutId id="2147483755" r:id="rId3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26">
          <p15:clr>
            <a:srgbClr val="F26B43"/>
          </p15:clr>
        </p15:guide>
        <p15:guide id="2" pos="5534">
          <p15:clr>
            <a:srgbClr val="F26B43"/>
          </p15:clr>
        </p15:guide>
        <p15:guide id="3" orient="horz" pos="187">
          <p15:clr>
            <a:srgbClr val="F26B43"/>
          </p15:clr>
        </p15:guide>
        <p15:guide id="4" orient="horz" pos="390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7337" y="4581128"/>
            <a:ext cx="4308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AngsanaUPC" panose="02020603050405020304" pitchFamily="18" charset="-34"/>
                <a:cs typeface="AngsanaUPC" panose="02020603050405020304" pitchFamily="18" charset="-34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DA99F2A-1CA3-4175-8486-CAD88CF786F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035454" y="0"/>
            <a:ext cx="107504" cy="3789040"/>
          </a:xfrm>
          <a:prstGeom prst="rect">
            <a:avLst/>
          </a:prstGeom>
          <a:solidFill>
            <a:srgbClr val="FF46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prstClr val="white"/>
                </a:solidFill>
              </a:rPr>
              <a:t> </a:t>
            </a:r>
            <a:endParaRPr lang="th-TH" sz="280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035454" y="3789040"/>
            <a:ext cx="107504" cy="432048"/>
          </a:xfrm>
          <a:prstGeom prst="rect">
            <a:avLst/>
          </a:prstGeom>
          <a:solidFill>
            <a:srgbClr val="F9C5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prstClr val="white"/>
                </a:solidFill>
              </a:rPr>
              <a:t> </a:t>
            </a:r>
            <a:endParaRPr lang="th-TH" sz="280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035454" y="4221088"/>
            <a:ext cx="107504" cy="432048"/>
          </a:xfrm>
          <a:prstGeom prst="rect">
            <a:avLst/>
          </a:prstGeom>
          <a:solidFill>
            <a:srgbClr val="726F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prstClr val="white"/>
                </a:solidFill>
              </a:rPr>
              <a:t> </a:t>
            </a:r>
            <a:endParaRPr lang="th-TH" sz="2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598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1" r:id="rId15"/>
    <p:sldLayoutId id="2147483772" r:id="rId16"/>
    <p:sldLayoutId id="2147483773" r:id="rId17"/>
    <p:sldLayoutId id="2147483774" r:id="rId18"/>
    <p:sldLayoutId id="2147483775" r:id="rId19"/>
    <p:sldLayoutId id="2147483776" r:id="rId20"/>
    <p:sldLayoutId id="2147483777" r:id="rId21"/>
    <p:sldLayoutId id="2147483778" r:id="rId22"/>
    <p:sldLayoutId id="2147483779" r:id="rId23"/>
    <p:sldLayoutId id="2147483780" r:id="rId24"/>
    <p:sldLayoutId id="2147483781" r:id="rId25"/>
    <p:sldLayoutId id="2147483782" r:id="rId26"/>
    <p:sldLayoutId id="2147483783" r:id="rId27"/>
    <p:sldLayoutId id="2147483784" r:id="rId28"/>
    <p:sldLayoutId id="2147483785" r:id="rId29"/>
    <p:sldLayoutId id="2147483786" r:id="rId30"/>
    <p:sldLayoutId id="2147483787" r:id="rId31"/>
    <p:sldLayoutId id="2147483788" r:id="rId32"/>
    <p:sldLayoutId id="2147483789" r:id="rId33"/>
    <p:sldLayoutId id="2147483790" r:id="rId34"/>
    <p:sldLayoutId id="2147483791" r:id="rId35"/>
    <p:sldLayoutId id="2147483792" r:id="rId36"/>
    <p:sldLayoutId id="2147483793" r:id="rId3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26">
          <p15:clr>
            <a:srgbClr val="F26B43"/>
          </p15:clr>
        </p15:guide>
        <p15:guide id="2" pos="5534">
          <p15:clr>
            <a:srgbClr val="F26B43"/>
          </p15:clr>
        </p15:guide>
        <p15:guide id="3" orient="horz" pos="187">
          <p15:clr>
            <a:srgbClr val="F26B43"/>
          </p15:clr>
        </p15:guide>
        <p15:guide id="4" orient="horz" pos="39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BEC4AB7-1BB9-49CE-8842-E2D8182EE8F3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ound Diagonal Corner Rectangle 6"/>
          <p:cNvSpPr/>
          <p:nvPr/>
        </p:nvSpPr>
        <p:spPr>
          <a:xfrm>
            <a:off x="533400" y="2362200"/>
            <a:ext cx="8001000" cy="3729820"/>
          </a:xfrm>
          <a:prstGeom prst="round2Diag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th-TH" sz="4400" b="1" dirty="0" smtClean="0">
                <a:solidFill>
                  <a:schemeClr val="tx1"/>
                </a:solidFill>
                <a:cs typeface="Angsana New"/>
              </a:rPr>
              <a:t>เป็นองค์กรชั้นนำที่มีการบริหารจัดการสวัสดิการที่มีประสิทธิภาพและยั่งยืน อย่างโปร่งใสด้วยหลักธรรมาภิบาล โดยยึดถือกำลังพลและครอบครัวเป็นศูนย์กลาง</a:t>
            </a:r>
            <a:endParaRPr lang="th-TH" sz="4400" b="1" dirty="0">
              <a:solidFill>
                <a:schemeClr val="tx1"/>
              </a:solidFill>
              <a:latin typeface="TH SarabunPSK" panose="020B0500040200020003" pitchFamily="34" charset="-34"/>
              <a:cs typeface="Angsana New"/>
            </a:endParaRPr>
          </a:p>
        </p:txBody>
      </p:sp>
      <p:pic>
        <p:nvPicPr>
          <p:cNvPr id="10" name="Picture 3" descr="\\psf\Home\Downloads\ภาพประกอบ slide\Vision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270596"/>
            <a:ext cx="4114800" cy="1710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2667830" y="1828800"/>
            <a:ext cx="365677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การสวัสดิการกองทัพเรือ </a:t>
            </a:r>
            <a:endParaRPr lang="en-US" sz="4000" b="1" dirty="0">
              <a:solidFill>
                <a:prstClr val="black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071" y="132503"/>
            <a:ext cx="1076749" cy="2153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343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7000"/>
    </mc:Choice>
    <mc:Fallback xmlns="">
      <p:transition spd="slow" advClick="0" advTm="7000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2" name="รูปภาพ 6" descr="earth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6803" name="Text Box 3"/>
          <p:cNvSpPr txBox="1">
            <a:spLocks noChangeArrowheads="1"/>
          </p:cNvSpPr>
          <p:nvPr/>
        </p:nvSpPr>
        <p:spPr bwMode="auto">
          <a:xfrm>
            <a:off x="0" y="44450"/>
            <a:ext cx="9144000" cy="4619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u="sng">
                <a:solidFill>
                  <a:srgbClr val="FFFF00"/>
                </a:solidFill>
                <a:latin typeface="Tahoma" pitchFamily="34" charset="0"/>
                <a:cs typeface="Tahoma" pitchFamily="34" charset="0"/>
              </a:rPr>
              <a:t>SWOT Analysis</a:t>
            </a:r>
            <a:endParaRPr lang="th-TH" altLang="en-US" sz="2400" b="1" u="sng">
              <a:solidFill>
                <a:srgbClr val="FFFF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6804" name="Line 4"/>
          <p:cNvSpPr>
            <a:spLocks noChangeShapeType="1"/>
          </p:cNvSpPr>
          <p:nvPr/>
        </p:nvSpPr>
        <p:spPr bwMode="auto">
          <a:xfrm>
            <a:off x="2051050" y="4005263"/>
            <a:ext cx="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prstClr val="black"/>
              </a:solidFill>
              <a:latin typeface="Angsana New" pitchFamily="18" charset="-34"/>
              <a:cs typeface="Angsana New" pitchFamily="18" charset="-34"/>
            </a:endParaRPr>
          </a:p>
        </p:txBody>
      </p:sp>
      <p:graphicFrame>
        <p:nvGraphicFramePr>
          <p:cNvPr id="338973" name="Group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9177882"/>
              </p:ext>
            </p:extLst>
          </p:nvPr>
        </p:nvGraphicFramePr>
        <p:xfrm>
          <a:off x="0" y="503238"/>
          <a:ext cx="9144000" cy="6845664"/>
        </p:xfrm>
        <a:graphic>
          <a:graphicData uri="http://schemas.openxmlformats.org/drawingml/2006/table">
            <a:tbl>
              <a:tblPr/>
              <a:tblGrid>
                <a:gridCol w="3048000"/>
                <a:gridCol w="3048000"/>
                <a:gridCol w="3048000"/>
              </a:tblGrid>
              <a:tr h="24687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H Niramit AS" pitchFamily="2" charset="-34"/>
                      </a:endParaRPr>
                    </a:p>
                  </a:txBody>
                  <a:tcPr marT="45696" marB="45696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28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จุดแข็ง</a:t>
                      </a:r>
                      <a:r>
                        <a:rPr kumimoji="0" lang="en-US" sz="28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(Strength)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1.</a:t>
                      </a:r>
                      <a:r>
                        <a:rPr kumimoji="0" lang="th-TH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มีต้นทุนต่ำเนื่องจากมีกำลังพล และสินทรัพย์ถาวร ที่ดินของ </a:t>
                      </a:r>
                      <a:r>
                        <a:rPr kumimoji="0" lang="th-TH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ทร.</a:t>
                      </a:r>
                      <a:r>
                        <a:rPr kumimoji="0" lang="th-TH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 ได้เปรียบด้านราคาสินค้า และบริการ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2.</a:t>
                      </a:r>
                      <a:r>
                        <a:rPr kumimoji="0" lang="th-TH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เป็นสวัสดิการส่วนราชการได้รับการสนับสนุนจากหน่วยภายใน </a:t>
                      </a:r>
                      <a:r>
                        <a:rPr kumimoji="0" lang="th-TH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ทร.</a:t>
                      </a:r>
                      <a:r>
                        <a:rPr kumimoji="0" lang="th-TH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 และ ภาคเอกชน</a:t>
                      </a:r>
                    </a:p>
                  </a:txBody>
                  <a:tcPr marT="45696" marB="45696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28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จุดอ่อน</a:t>
                      </a:r>
                      <a:r>
                        <a:rPr kumimoji="0" lang="en-US" sz="28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(Weakness)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1.</a:t>
                      </a:r>
                      <a:r>
                        <a:rPr kumimoji="0" lang="th-TH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ขาดความรู้เชิงธุรกิจ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2.</a:t>
                      </a:r>
                      <a:r>
                        <a:rPr kumimoji="0" lang="th-TH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การปรับย้ายตามวาระขาดความต่อเนื่องการปฏิบัติงาน</a:t>
                      </a:r>
                    </a:p>
                  </a:txBody>
                  <a:tcPr marT="45696" marB="45696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99"/>
                    </a:solidFill>
                  </a:tcPr>
                </a:tc>
              </a:tr>
              <a:tr h="21883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28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โอกาส</a:t>
                      </a:r>
                      <a:r>
                        <a:rPr kumimoji="0" lang="en-US" sz="24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(Opportunity)</a:t>
                      </a:r>
                      <a:endParaRPr kumimoji="0" lang="th-TH" sz="2400" b="1" i="0" u="sng" strike="noStrike" cap="none" normalizeH="0" baseline="0" dirty="0" smtClean="0">
                        <a:ln>
                          <a:noFill/>
                        </a:ln>
                        <a:solidFill>
                          <a:srgbClr val="FFFF00"/>
                        </a:solidFill>
                        <a:effectLst/>
                        <a:latin typeface="Times New Roman" pitchFamily="18" charset="0"/>
                        <a:cs typeface="TH Niramit AS" pitchFamily="2" charset="-34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1.</a:t>
                      </a:r>
                      <a:r>
                        <a:rPr kumimoji="0" lang="th-TH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นโยบายรัฐบาลได้เปรียบในการแข่งขัน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2.</a:t>
                      </a:r>
                      <a:r>
                        <a:rPr kumimoji="0" lang="th-TH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 การขยายตัวของตลาด</a:t>
                      </a:r>
                    </a:p>
                  </a:txBody>
                  <a:tcPr marT="45696" marB="45696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SO </a:t>
                      </a: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H Niramit AS"/>
                          <a:cs typeface="TH Niramit AS" pitchFamily="2" charset="-34"/>
                        </a:rPr>
                        <a:t>–</a:t>
                      </a: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 Strategy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24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ยุทธศาสตร์ที่ 1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พัฒนาคุณภาพการให้บริการรองรับการขยายตัว ทาง ศก. และความก้าวหน้าทางเทคโนโลยี</a:t>
                      </a:r>
                    </a:p>
                  </a:txBody>
                  <a:tcPr marT="45696" marB="45696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WO </a:t>
                      </a: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H Niramit AS"/>
                          <a:cs typeface="TH Niramit AS" pitchFamily="2" charset="-34"/>
                        </a:rPr>
                        <a:t>–</a:t>
                      </a: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 Strategy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24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ยุทธศาสตร์ที่ 3</a:t>
                      </a:r>
                      <a:r>
                        <a:rPr kumimoji="0" lang="th-TH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H Niramit AS" pitchFamily="2" charset="-34"/>
                        </a:rPr>
                        <a:t>ปรับปรุงและเพิ่มประสิทธิภาพกระบวนการให้บริการให้มีมาตรฐานเพื่อสร้างโอกาสการแข่งขัน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th-TH" sz="2400" b="1" i="0" u="sng" strike="noStrike" cap="none" normalizeH="0" baseline="0" dirty="0" smtClean="0">
                        <a:ln>
                          <a:noFill/>
                        </a:ln>
                        <a:solidFill>
                          <a:srgbClr val="FFFF00"/>
                        </a:solidFill>
                        <a:effectLst/>
                        <a:latin typeface="Times New Roman" pitchFamily="18" charset="0"/>
                        <a:cs typeface="TH Niramit AS" pitchFamily="2" charset="-34"/>
                      </a:endParaRPr>
                    </a:p>
                  </a:txBody>
                  <a:tcPr marT="45696" marB="45696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</a:tr>
              <a:tr h="21883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28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ข้อจำกัด</a:t>
                      </a:r>
                      <a:r>
                        <a:rPr kumimoji="0" lang="en-US" sz="24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(Threat)</a:t>
                      </a:r>
                      <a:endParaRPr kumimoji="0" lang="th-TH" sz="2400" b="1" i="0" u="sng" strike="noStrike" cap="none" normalizeH="0" baseline="0" dirty="0" smtClean="0">
                        <a:ln>
                          <a:noFill/>
                        </a:ln>
                        <a:solidFill>
                          <a:srgbClr val="FFFF00"/>
                        </a:solidFill>
                        <a:effectLst/>
                        <a:latin typeface="Times New Roman" pitchFamily="18" charset="0"/>
                        <a:cs typeface="TH Niramit AS" pitchFamily="2" charset="-34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1.</a:t>
                      </a:r>
                      <a:r>
                        <a:rPr kumimoji="0" lang="th-TH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กฎหมายที่ใช้บังคับทำให้ขาดความคล่องตัวไม่ทันต่อการแข่งขัน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2.</a:t>
                      </a:r>
                      <a:r>
                        <a:rPr kumimoji="0" lang="th-TH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เศรษฐกิจภายใน   ประเทศค่าครองชีพสูงขึ้น</a:t>
                      </a:r>
                    </a:p>
                  </a:txBody>
                  <a:tcPr marT="45696" marB="45696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ST </a:t>
                      </a: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H Niramit AS"/>
                          <a:cs typeface="TH Niramit AS" pitchFamily="2" charset="-34"/>
                        </a:rPr>
                        <a:t>–</a:t>
                      </a: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 Strategy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20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ยุ</a:t>
                      </a:r>
                      <a:r>
                        <a:rPr kumimoji="0" lang="th-TH" sz="24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ทธศาสตร์ที่ 2 </a:t>
                      </a:r>
                      <a:r>
                        <a:rPr kumimoji="0" lang="th-TH" sz="2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ea typeface="+mn-ea"/>
                          <a:cs typeface="TH Niramit AS" pitchFamily="2" charset="-34"/>
                        </a:rPr>
                        <a:t>เสริมสร้างความมั่นคงและคุณภาพชีวิตที่ดีของข้าราชการและครอบครัว</a:t>
                      </a:r>
                    </a:p>
                  </a:txBody>
                  <a:tcPr marT="45696" marB="45696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WT </a:t>
                      </a: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H Niramit AS"/>
                          <a:cs typeface="TH Niramit AS" pitchFamily="2" charset="-34"/>
                        </a:rPr>
                        <a:t>–</a:t>
                      </a: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 Strategy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24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rgbClr val="FFFF00"/>
                          </a:solidFill>
                          <a:effectLst/>
                          <a:latin typeface="Times New Roman" pitchFamily="18" charset="0"/>
                          <a:cs typeface="TH Niramit AS" pitchFamily="2" charset="-34"/>
                        </a:rPr>
                        <a:t>ยุทธศาสตร์ที่4 </a:t>
                      </a:r>
                      <a:r>
                        <a:rPr kumimoji="0" lang="th-TH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H Niramit AS" pitchFamily="2" charset="-34"/>
                        </a:rPr>
                        <a:t>ส่งเสริมความรู้ ของบุคคลากรสร้างความชำนาญงานบริการ และการบริหารเชิงธุรกิจรองรับการเปลี่ยนแปลง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th-TH" sz="2400" b="1" i="0" u="sng" strike="noStrike" cap="none" normalizeH="0" baseline="0" dirty="0" smtClean="0">
                        <a:ln>
                          <a:noFill/>
                        </a:ln>
                        <a:solidFill>
                          <a:srgbClr val="FFFF00"/>
                        </a:solidFill>
                        <a:effectLst/>
                        <a:latin typeface="Times New Roman" pitchFamily="18" charset="0"/>
                        <a:cs typeface="TH Niramit AS" pitchFamily="2" charset="-34"/>
                      </a:endParaRPr>
                    </a:p>
                  </a:txBody>
                  <a:tcPr marT="45696" marB="45696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</a:tr>
            </a:tbl>
          </a:graphicData>
        </a:graphic>
      </p:graphicFrame>
      <p:sp>
        <p:nvSpPr>
          <p:cNvPr id="76823" name="Text Box 23"/>
          <p:cNvSpPr txBox="1">
            <a:spLocks noChangeArrowheads="1"/>
          </p:cNvSpPr>
          <p:nvPr/>
        </p:nvSpPr>
        <p:spPr bwMode="auto">
          <a:xfrm>
            <a:off x="107950" y="2205038"/>
            <a:ext cx="223202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th-TH" altLang="en-US" sz="3200" b="1">
                <a:solidFill>
                  <a:srgbClr val="FFFFFF"/>
                </a:solidFill>
                <a:latin typeface="Andalus" pitchFamily="18" charset="-78"/>
                <a:cs typeface="TH Niramit AS" pitchFamily="2" charset="-34"/>
              </a:rPr>
              <a:t>ปัจจัยภายนอก</a:t>
            </a:r>
          </a:p>
        </p:txBody>
      </p:sp>
      <p:sp>
        <p:nvSpPr>
          <p:cNvPr id="76824" name="Text Box 24"/>
          <p:cNvSpPr txBox="1">
            <a:spLocks noChangeArrowheads="1"/>
          </p:cNvSpPr>
          <p:nvPr/>
        </p:nvSpPr>
        <p:spPr bwMode="auto">
          <a:xfrm>
            <a:off x="1116013" y="1125538"/>
            <a:ext cx="180022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ngsana New" pitchFamily="18" charset="-34"/>
                <a:cs typeface="Angsana New" pitchFamily="18" charset="-34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th-TH" altLang="en-US" sz="3200" b="1">
                <a:solidFill>
                  <a:srgbClr val="FFFFFF"/>
                </a:solidFill>
                <a:latin typeface="Andalus" pitchFamily="18" charset="-78"/>
                <a:cs typeface="TH Niramit AS" pitchFamily="2" charset="-34"/>
              </a:rPr>
              <a:t>ปัจจัยภายใน</a:t>
            </a:r>
          </a:p>
        </p:txBody>
      </p:sp>
      <p:sp>
        <p:nvSpPr>
          <p:cNvPr id="76825" name="Line 25"/>
          <p:cNvSpPr>
            <a:spLocks noChangeShapeType="1"/>
          </p:cNvSpPr>
          <p:nvPr/>
        </p:nvSpPr>
        <p:spPr bwMode="auto">
          <a:xfrm>
            <a:off x="0" y="836613"/>
            <a:ext cx="2987675" cy="1871662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prstClr val="black"/>
              </a:solidFill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44450"/>
            <a:ext cx="3048000" cy="1123712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th-TH" sz="2000" b="1" dirty="0" smtClean="0"/>
              <a:t>ควรกำหนดกลยุทธ์ ภายใต้</a:t>
            </a:r>
            <a:r>
              <a:rPr lang="en-US" sz="2000" b="1" dirty="0" smtClean="0"/>
              <a:t> 4</a:t>
            </a:r>
            <a:r>
              <a:rPr lang="th-TH" sz="2000" b="1" dirty="0" smtClean="0"/>
              <a:t>ยุทธศาสตร์</a:t>
            </a:r>
            <a:r>
              <a:rPr lang="en-US" sz="2000" b="1" dirty="0" smtClean="0"/>
              <a:t> </a:t>
            </a:r>
            <a:r>
              <a:rPr lang="th-TH" sz="2000" b="1" dirty="0" smtClean="0"/>
              <a:t>เพื่อให้เห็นแนวปฏิบัติชัดเจน จากนั้น กำหนดโครงการ/กิจกรรมต่อไป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35852618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067800" cy="826532"/>
          </a:xfr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th-TH" sz="3200" dirty="0" smtClean="0">
                <a:solidFill>
                  <a:schemeClr val="tx1"/>
                </a:solidFill>
              </a:rPr>
              <a:t>หากท่านเป็นนักลงทุนต่างชาติ จะ</a:t>
            </a:r>
            <a:r>
              <a:rPr lang="th-TH" sz="3600" u="sng" dirty="0" smtClean="0">
                <a:solidFill>
                  <a:srgbClr val="0070C0"/>
                </a:solidFill>
              </a:rPr>
              <a:t>มาลงทุน</a:t>
            </a:r>
            <a:r>
              <a:rPr lang="th-TH" sz="3200" dirty="0" smtClean="0">
                <a:solidFill>
                  <a:schemeClr val="tx1"/>
                </a:solidFill>
              </a:rPr>
              <a:t>ที่ประเทศไทย </a:t>
            </a:r>
            <a:r>
              <a:rPr lang="th-TH" sz="3600" u="sng" dirty="0" smtClean="0">
                <a:solidFill>
                  <a:srgbClr val="0070C0"/>
                </a:solidFill>
              </a:rPr>
              <a:t>เพราะเหตุผลดังนี้?</a:t>
            </a:r>
            <a:endParaRPr lang="en-US" sz="3600" u="sng" dirty="0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838200"/>
            <a:ext cx="8305800" cy="6172200"/>
          </a:xfrm>
        </p:spPr>
        <p:txBody>
          <a:bodyPr/>
          <a:lstStyle/>
          <a:p>
            <a:pPr marL="457200" indent="-457200">
              <a:buFont typeface="+mj-lt"/>
              <a:buAutoNum type="arabicParenR"/>
            </a:pPr>
            <a:r>
              <a:rPr lang="th-TH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แหล่งทรัพยากรธรรมชาติอุดมสมบูรณ์มาก ทรัพยากรและแหล่งอาหาร สินค้าเกษตร เป็นฐานการผลิตที่หลากหลาย </a:t>
            </a:r>
            <a:r>
              <a:rPr lang="en-US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(18) </a:t>
            </a:r>
            <a:endParaRPr lang="th-TH" sz="2400" b="1" dirty="0">
              <a:latin typeface="TH Niramit AS" panose="02000506000000020004" pitchFamily="2" charset="-34"/>
              <a:cs typeface="TH Niramit AS" panose="02000506000000020004" pitchFamily="2" charset="-34"/>
            </a:endParaRPr>
          </a:p>
          <a:p>
            <a:pPr marL="457200" indent="-457200">
              <a:buFont typeface="+mj-lt"/>
              <a:buAutoNum type="arabicParenR"/>
            </a:pPr>
            <a:r>
              <a:rPr lang="th-TH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เป็นศูนย์กลางคมนาคม</a:t>
            </a:r>
            <a:r>
              <a:rPr lang="en-US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 </a:t>
            </a:r>
            <a:r>
              <a:rPr lang="th-TH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การเดินทาง </a:t>
            </a:r>
            <a:r>
              <a:rPr lang="en-US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(Logistic) </a:t>
            </a:r>
            <a:r>
              <a:rPr lang="th-TH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ระบบโครงสร้างพื้นฐานเหมาะสม</a:t>
            </a:r>
            <a:r>
              <a:rPr lang="en-US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 </a:t>
            </a:r>
            <a:r>
              <a:rPr lang="th-TH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มี </a:t>
            </a:r>
            <a:r>
              <a:rPr lang="en-US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Eastern Seaboard </a:t>
            </a:r>
            <a:r>
              <a:rPr lang="th-TH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เป็นฐาน </a:t>
            </a:r>
            <a:r>
              <a:rPr lang="en-US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(11)</a:t>
            </a:r>
          </a:p>
          <a:p>
            <a:pPr marL="457200" indent="-457200">
              <a:buFont typeface="+mj-lt"/>
              <a:buAutoNum type="arabicParenR"/>
            </a:pPr>
            <a:r>
              <a:rPr lang="th-TH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เพิ่มโอกาสการลงทุนและขยายธุรกิจ มีการเกิดขึ้นของอุตสาหกรรมหลายอย่างในฐานะผู้ลงทุน</a:t>
            </a:r>
            <a:r>
              <a:rPr lang="en-US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 (5)</a:t>
            </a:r>
            <a:endParaRPr lang="th-TH" sz="2400" b="1" dirty="0">
              <a:latin typeface="TH Niramit AS" panose="02000506000000020004" pitchFamily="2" charset="-34"/>
              <a:cs typeface="TH Niramit AS" panose="02000506000000020004" pitchFamily="2" charset="-34"/>
            </a:endParaRPr>
          </a:p>
          <a:p>
            <a:pPr marL="457200" indent="-457200">
              <a:buFont typeface="+mj-lt"/>
              <a:buAutoNum type="arabicParenR"/>
            </a:pPr>
            <a:r>
              <a:rPr lang="th-TH" sz="24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แหล่ง</a:t>
            </a:r>
            <a:r>
              <a:rPr lang="th-TH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ท่องเที่ยวหลากหลาย </a:t>
            </a:r>
            <a:r>
              <a:rPr lang="th-TH" sz="24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ม</a:t>
            </a:r>
            <a:r>
              <a:rPr lang="th-TH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ี</a:t>
            </a:r>
            <a:r>
              <a:rPr lang="th-TH" sz="24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การ</a:t>
            </a:r>
            <a:r>
              <a:rPr lang="th-TH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ท่องเที่ยวเชิงสุขภาพมาก</a:t>
            </a:r>
            <a:r>
              <a:rPr lang="th-TH" sz="24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ขึ้น </a:t>
            </a:r>
            <a:r>
              <a:rPr lang="en-US" sz="24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(</a:t>
            </a:r>
            <a:r>
              <a:rPr lang="en-US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4</a:t>
            </a:r>
            <a:r>
              <a:rPr lang="en-US" sz="24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)</a:t>
            </a:r>
            <a:endParaRPr lang="en-US" sz="2400" b="1" dirty="0">
              <a:latin typeface="TH Niramit AS" panose="02000506000000020004" pitchFamily="2" charset="-34"/>
              <a:cs typeface="TH Niramit AS" panose="02000506000000020004" pitchFamily="2" charset="-34"/>
            </a:endParaRPr>
          </a:p>
          <a:p>
            <a:pPr marL="457200" indent="-457200">
              <a:buFont typeface="+mj-lt"/>
              <a:buAutoNum type="arabicParenR"/>
            </a:pPr>
            <a:r>
              <a:rPr lang="th-TH" sz="24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เป็น</a:t>
            </a:r>
            <a:r>
              <a:rPr lang="th-TH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พื้นที่กำลังพัฒนา ยังไม่มีเทคโนโลยีที่ยังก้าวไม่ทันเทคโนโลยีสากล </a:t>
            </a:r>
            <a:r>
              <a:rPr lang="en-US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(2</a:t>
            </a:r>
            <a:r>
              <a:rPr lang="en-US" sz="24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)</a:t>
            </a:r>
          </a:p>
          <a:p>
            <a:pPr marL="457200" indent="-457200">
              <a:buFont typeface="+mj-lt"/>
              <a:buAutoNum type="arabicParenR"/>
            </a:pPr>
            <a:r>
              <a:rPr lang="th-TH" sz="24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ค่า</a:t>
            </a:r>
            <a:r>
              <a:rPr lang="th-TH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ครองชีพไม่สูง </a:t>
            </a:r>
            <a:r>
              <a:rPr lang="en-US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(5</a:t>
            </a:r>
            <a:r>
              <a:rPr lang="en-US" sz="24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)</a:t>
            </a:r>
          </a:p>
          <a:p>
            <a:pPr marL="457200" indent="-457200">
              <a:buFont typeface="+mj-lt"/>
              <a:buAutoNum type="arabicParenR"/>
            </a:pPr>
            <a:r>
              <a:rPr lang="th-TH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ค่าแรงถูก </a:t>
            </a:r>
            <a:r>
              <a:rPr lang="en-US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(4</a:t>
            </a:r>
            <a:r>
              <a:rPr lang="en-US" sz="24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)</a:t>
            </a:r>
            <a:endParaRPr lang="th-TH" sz="2400" b="1" dirty="0">
              <a:latin typeface="TH Niramit AS" panose="02000506000000020004" pitchFamily="2" charset="-34"/>
              <a:cs typeface="TH Niramit AS" panose="02000506000000020004" pitchFamily="2" charset="-34"/>
            </a:endParaRPr>
          </a:p>
          <a:p>
            <a:pPr marL="457200" indent="-457200">
              <a:buFont typeface="+mj-lt"/>
              <a:buAutoNum type="arabicParenR"/>
            </a:pPr>
            <a:r>
              <a:rPr lang="th-TH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แรงงานคุณภาพ</a:t>
            </a:r>
            <a:r>
              <a:rPr lang="en-US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 </a:t>
            </a:r>
            <a:r>
              <a:rPr lang="th-TH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 มีฝีมือสูง </a:t>
            </a:r>
            <a:r>
              <a:rPr lang="en-US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(5)</a:t>
            </a:r>
            <a:endParaRPr lang="th-TH" sz="2400" b="1" dirty="0">
              <a:latin typeface="TH Niramit AS" panose="02000506000000020004" pitchFamily="2" charset="-34"/>
              <a:cs typeface="TH Niramit AS" panose="02000506000000020004" pitchFamily="2" charset="-34"/>
            </a:endParaRPr>
          </a:p>
          <a:p>
            <a:pPr marL="457200" indent="-457200">
              <a:buFont typeface="+mj-lt"/>
              <a:buAutoNum type="arabicParenR"/>
            </a:pPr>
            <a:r>
              <a:rPr lang="th-TH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คนไทยมีน้ำใจ มีความเป็นมิตร </a:t>
            </a:r>
            <a:r>
              <a:rPr lang="en-US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(5)</a:t>
            </a:r>
          </a:p>
          <a:p>
            <a:pPr marL="457200" indent="-457200">
              <a:buFont typeface="+mj-lt"/>
              <a:buAutoNum type="arabicParenR"/>
            </a:pPr>
            <a:r>
              <a:rPr lang="th-TH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ชีวิตเรียบง่ายน่าอยู่ ไม่เคร่งครัด</a:t>
            </a:r>
          </a:p>
          <a:p>
            <a:pPr marL="457200" indent="-457200">
              <a:buFont typeface="+mj-lt"/>
              <a:buAutoNum type="arabicParenR"/>
            </a:pPr>
            <a:r>
              <a:rPr lang="th-TH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ปลอดภัย ไม่มีภัยธรรมชาติ </a:t>
            </a:r>
            <a:r>
              <a:rPr lang="en-US" sz="2400" b="1" dirty="0">
                <a:latin typeface="TH Niramit AS" panose="02000506000000020004" pitchFamily="2" charset="-34"/>
                <a:cs typeface="TH Niramit AS" panose="02000506000000020004" pitchFamily="2" charset="-34"/>
              </a:rPr>
              <a:t>(3</a:t>
            </a:r>
            <a:r>
              <a:rPr lang="en-US" sz="24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)</a:t>
            </a:r>
            <a:endParaRPr lang="th-TH" sz="2400" b="1" dirty="0">
              <a:latin typeface="TH Niramit AS" panose="02000506000000020004" pitchFamily="2" charset="-34"/>
              <a:cs typeface="TH Niramit AS" panose="02000506000000020004" pitchFamily="2" charset="-3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892B0ED-4054-42B7-A893-2D57CE8DC8A6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</a:t>
            </a:fld>
            <a:endParaRPr lang="th-TH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527058" y="478012"/>
            <a:ext cx="1475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rgbClr val="0070C0"/>
                </a:solidFill>
              </a:rPr>
              <a:t>Workshop#1</a:t>
            </a:r>
            <a:endParaRPr lang="en-US" u="sng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3292529"/>
      </p:ext>
    </p:extLst>
  </p:cSld>
  <p:clrMapOvr>
    <a:masterClrMapping/>
  </p:clrMapOvr>
  <p:transition>
    <p:strips dir="r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067800" cy="762000"/>
          </a:xfr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th-TH" dirty="0" smtClean="0">
                <a:solidFill>
                  <a:schemeClr val="tx1"/>
                </a:solidFill>
              </a:rPr>
              <a:t>หากท่านเป็นนักลงทุนต่างชาติ จะ</a:t>
            </a:r>
            <a:r>
              <a:rPr lang="th-TH" sz="2800" u="sng" dirty="0" smtClean="0">
                <a:solidFill>
                  <a:srgbClr val="0070C0"/>
                </a:solidFill>
              </a:rPr>
              <a:t>มาลงทุน</a:t>
            </a:r>
            <a:r>
              <a:rPr lang="th-TH" dirty="0" smtClean="0">
                <a:solidFill>
                  <a:schemeClr val="tx1"/>
                </a:solidFill>
              </a:rPr>
              <a:t>ที่ประเทศไทย </a:t>
            </a:r>
            <a:r>
              <a:rPr lang="th-TH" sz="2800" u="sng" dirty="0" smtClean="0">
                <a:solidFill>
                  <a:srgbClr val="0070C0"/>
                </a:solidFill>
              </a:rPr>
              <a:t>เพราะเหตุผลดังนี้?</a:t>
            </a:r>
            <a:endParaRPr lang="en-US" sz="2800" u="sng" dirty="0">
              <a:solidFill>
                <a:srgbClr val="0070C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892B0ED-4054-42B7-A893-2D57CE8DC8A6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</a:t>
            </a:fld>
            <a:endParaRPr lang="th-TH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57199" y="762000"/>
            <a:ext cx="8330137" cy="569386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arenR" startAt="12"/>
            </a:pPr>
            <a:r>
              <a:rPr lang="th-TH" sz="28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มีนโยบายสนับสนุนจากรัฐ เช่น ด้านกฎหมาย ด้านภาษี (</a:t>
            </a:r>
            <a:r>
              <a:rPr lang="en-US" sz="28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4)</a:t>
            </a:r>
          </a:p>
          <a:p>
            <a:pPr marL="457200" indent="-457200">
              <a:buFont typeface="+mj-lt"/>
              <a:buAutoNum type="arabicParenR" startAt="12"/>
            </a:pPr>
            <a:r>
              <a:rPr lang="th-TH" sz="28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ความมั่นคงทางการเมือง มีรัฐบาลจากการเลือกตั้ง </a:t>
            </a:r>
            <a:r>
              <a:rPr lang="en-US" sz="28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(2)</a:t>
            </a:r>
          </a:p>
          <a:p>
            <a:pPr marL="457200" indent="-457200">
              <a:buFont typeface="+mj-lt"/>
              <a:buAutoNum type="arabicParenR" startAt="12"/>
            </a:pPr>
            <a:r>
              <a:rPr lang="th-TH" sz="28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ภาคเอกชนเข้มแข็ง</a:t>
            </a:r>
            <a:endParaRPr lang="en-US" sz="2800" b="1" dirty="0" smtClean="0">
              <a:latin typeface="TH Niramit AS" panose="02000506000000020004" pitchFamily="2" charset="-34"/>
              <a:cs typeface="TH Niramit AS" panose="02000506000000020004" pitchFamily="2" charset="-34"/>
            </a:endParaRPr>
          </a:p>
          <a:p>
            <a:pPr marL="457200" indent="-457200">
              <a:buFont typeface="+mj-lt"/>
              <a:buAutoNum type="arabicParenR" startAt="12"/>
            </a:pPr>
            <a:r>
              <a:rPr lang="th-TH" sz="28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การเช่าอสังหาริมทรัพย์ระยะยาวถูก</a:t>
            </a:r>
            <a:endParaRPr lang="en-US" sz="2800" b="1" dirty="0" smtClean="0">
              <a:latin typeface="TH Niramit AS" panose="02000506000000020004" pitchFamily="2" charset="-34"/>
              <a:cs typeface="TH Niramit AS" panose="02000506000000020004" pitchFamily="2" charset="-34"/>
            </a:endParaRPr>
          </a:p>
          <a:p>
            <a:pPr marL="457200" indent="-457200">
              <a:buFont typeface="+mj-lt"/>
              <a:buAutoNum type="arabicParenR" startAt="12"/>
            </a:pPr>
            <a:r>
              <a:rPr lang="en-US" sz="28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EEC </a:t>
            </a:r>
            <a:r>
              <a:rPr lang="th-TH" sz="28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เป็นสถานที่ที่มีความพร้อมในด้าน </a:t>
            </a:r>
            <a:r>
              <a:rPr lang="en-US" sz="28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Hardware </a:t>
            </a:r>
          </a:p>
          <a:p>
            <a:pPr marL="457200" indent="-457200">
              <a:buFont typeface="+mj-lt"/>
              <a:buAutoNum type="arabicParenR" startAt="12"/>
            </a:pPr>
            <a:r>
              <a:rPr lang="th-TH" sz="28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มาลงทุนถ้ามีการบังคับใช้กฎหมายและระเบียบต่างๆ อย่างเป็นธรรม ไม่มีระบบอุปถัมภ์มากเกินไป</a:t>
            </a:r>
          </a:p>
          <a:p>
            <a:pPr marL="457200" indent="-457200">
              <a:buFont typeface="+mj-lt"/>
              <a:buAutoNum type="arabicParenR" startAt="12"/>
            </a:pPr>
            <a:r>
              <a:rPr lang="th-TH" sz="28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มีระบบสาธารณูปโภคที่ดี</a:t>
            </a:r>
            <a:endParaRPr lang="en-US" sz="2800" b="1" dirty="0" smtClean="0">
              <a:latin typeface="TH Niramit AS" panose="02000506000000020004" pitchFamily="2" charset="-34"/>
              <a:cs typeface="TH Niramit AS" panose="02000506000000020004" pitchFamily="2" charset="-34"/>
            </a:endParaRPr>
          </a:p>
          <a:p>
            <a:pPr marL="457200" indent="-457200">
              <a:buFont typeface="+mj-lt"/>
              <a:buAutoNum type="arabicParenR" startAt="12"/>
            </a:pPr>
            <a:r>
              <a:rPr lang="th-TH" sz="28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ไม่มีการแบ่งแยกศาสนา </a:t>
            </a:r>
          </a:p>
          <a:p>
            <a:pPr marL="457200" indent="-457200">
              <a:buFont typeface="+mj-lt"/>
              <a:buAutoNum type="arabicParenR" startAt="12"/>
            </a:pPr>
            <a:r>
              <a:rPr lang="th-TH" sz="28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ไม่มีการสู้รบแบบยาวนานและต่อเนื่อง </a:t>
            </a:r>
          </a:p>
          <a:p>
            <a:pPr marL="457200" indent="-457200">
              <a:buFont typeface="+mj-lt"/>
              <a:buAutoNum type="arabicParenR" startAt="12"/>
            </a:pPr>
            <a:r>
              <a:rPr lang="th-TH" sz="28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มีวัฒนธรรมท้องถิ่น อาหารถิ่น อยู่ทุกภูมิภาค ทำให้นักท่องเที่ยวได้เรียนรู้อยู่ทุกภาคของประเทศไทย</a:t>
            </a:r>
          </a:p>
          <a:p>
            <a:pPr marL="457200" indent="-457200">
              <a:buFont typeface="+mj-lt"/>
              <a:buAutoNum type="arabicParenR" startAt="12"/>
            </a:pPr>
            <a:r>
              <a:rPr lang="th-TH" sz="28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การสาธารณูปโภคพื้นฐานดี การสาธารณสุขดี</a:t>
            </a:r>
            <a:r>
              <a:rPr lang="en-US" sz="28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(3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620000" y="457200"/>
            <a:ext cx="1475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rgbClr val="0070C0"/>
                </a:solidFill>
              </a:rPr>
              <a:t>Workshop#1</a:t>
            </a:r>
            <a:endParaRPr lang="en-US" u="sng" dirty="0">
              <a:solidFill>
                <a:srgbClr val="0070C0"/>
              </a:solidFill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0" y="0"/>
            <a:ext cx="9067800" cy="8265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lt1"/>
                </a:solidFill>
                <a:latin typeface="AngsanaUPC" panose="02020603050405020304" pitchFamily="18" charset="-34"/>
                <a:ea typeface="+mn-ea"/>
                <a:cs typeface="AngsanaUPC" panose="02020603050405020304" pitchFamily="18" charset="-34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th-TH" sz="3200" smtClean="0">
                <a:solidFill>
                  <a:schemeClr val="tx1"/>
                </a:solidFill>
              </a:rPr>
              <a:t>หากท่านเป็นนักลงทุนต่างชาติ จะ</a:t>
            </a:r>
            <a:r>
              <a:rPr lang="th-TH" sz="3600" u="sng" smtClean="0">
                <a:solidFill>
                  <a:srgbClr val="0070C0"/>
                </a:solidFill>
              </a:rPr>
              <a:t>มาลงทุน</a:t>
            </a:r>
            <a:r>
              <a:rPr lang="th-TH" sz="3200" smtClean="0">
                <a:solidFill>
                  <a:schemeClr val="tx1"/>
                </a:solidFill>
              </a:rPr>
              <a:t>ที่ประเทศไทย </a:t>
            </a:r>
            <a:r>
              <a:rPr lang="th-TH" sz="3600" u="sng" smtClean="0">
                <a:solidFill>
                  <a:srgbClr val="0070C0"/>
                </a:solidFill>
              </a:rPr>
              <a:t>เพราะเหตุผลดังนี้?</a:t>
            </a:r>
            <a:endParaRPr lang="en-US" sz="3600" u="sng" dirty="0">
              <a:solidFill>
                <a:srgbClr val="0070C0"/>
              </a:solidFill>
            </a:endParaRPr>
          </a:p>
        </p:txBody>
      </p:sp>
      <p:sp>
        <p:nvSpPr>
          <p:cNvPr id="10" name="TextBox 7"/>
          <p:cNvSpPr txBox="1"/>
          <p:nvPr/>
        </p:nvSpPr>
        <p:spPr>
          <a:xfrm>
            <a:off x="7290275" y="493776"/>
            <a:ext cx="1475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rgbClr val="0070C0"/>
                </a:solidFill>
              </a:rPr>
              <a:t>Workshop#1</a:t>
            </a:r>
            <a:endParaRPr lang="en-US" u="sng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477310"/>
      </p:ext>
    </p:extLst>
  </p:cSld>
  <p:clrMapOvr>
    <a:masterClrMapping/>
  </p:clrMapOvr>
  <p:transition>
    <p:strips dir="r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6D83A46-A5C8-4ADC-A7FC-C178C7711462}" type="slidenum">
              <a:rPr lang="en-US" sz="2000" smtClean="0">
                <a:solidFill>
                  <a:prstClr val="black">
                    <a:tint val="7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US" sz="2000">
              <a:solidFill>
                <a:prstClr val="black">
                  <a:tint val="75000"/>
                </a:prstClr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7337" y="1537978"/>
            <a:ext cx="9161373" cy="541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</a:t>
            </a: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 การเมือง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ไม่</a:t>
            </a: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ิ่ง</a:t>
            </a:r>
            <a:r>
              <a:rPr lang="en-US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ัฐบาลขาดเสถียรภาพ นโยบายไม่ชัดเจน</a:t>
            </a:r>
            <a:r>
              <a:rPr lang="en-US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</a:t>
            </a:r>
            <a:r>
              <a:rPr lang="en-US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6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. มี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ทุจริต คอรัปชั่น เรียกรับผลประโยชน์ (</a:t>
            </a:r>
            <a:r>
              <a:rPr lang="en-US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6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3. ค่าแรง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ูง คุณภาพต่ำ (</a:t>
            </a:r>
            <a:r>
              <a:rPr lang="en-US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5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4. ความ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ไม่มั่นคงทางเศรษฐกิจ (</a:t>
            </a:r>
            <a:r>
              <a:rPr lang="en-US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3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5. ความ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ยุ่งยากด้านกฎหมาย เช่น กฎหมายแรงงาน การลงทุน (</a:t>
            </a:r>
            <a:r>
              <a:rPr lang="en-US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3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  <a:endParaRPr lang="en-US" sz="32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6. ขาด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ทรัพยากรธรรมชาติ / ประเทศเพื่อนบ้านมีทรัพยากรเยอะกว่า</a:t>
            </a:r>
            <a:r>
              <a:rPr lang="en-US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</a:t>
            </a:r>
            <a:r>
              <a:rPr lang="en-US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7. ความ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ไม่ปลอดภัยในชีวิต</a:t>
            </a:r>
            <a:r>
              <a:rPr lang="en-US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 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ช่น อุบัติเหตุทางท้องถนน อาชญากรรม โจร การหลอกลวง (</a:t>
            </a:r>
            <a:r>
              <a:rPr lang="en-US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  <a:endParaRPr lang="en-US" sz="32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8. ประเทศ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ไทยไม่มีฐานข้อมูลที่เป็นประโยชย์ต่อการตัดสินใจของผู้นำ/ภาคราชการ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9. ภาครัฐ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ใช้ผู้บริหารอายุมาก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2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048" y="-30480"/>
            <a:ext cx="9067800" cy="12192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th-TH" sz="3200" dirty="0" smtClean="0">
                <a:solidFill>
                  <a:schemeClr val="tx1"/>
                </a:solidFill>
              </a:rPr>
              <a:t>หากท่านเป็นนักลงทุนต่างชาติ จะ</a:t>
            </a:r>
            <a:r>
              <a:rPr lang="th-TH" sz="3200" u="sng" dirty="0" smtClean="0">
                <a:solidFill>
                  <a:srgbClr val="0070C0"/>
                </a:solidFill>
              </a:rPr>
              <a:t>ไม่มา</a:t>
            </a:r>
            <a:r>
              <a:rPr lang="th-TH" sz="3200" u="sng" dirty="0" smtClean="0">
                <a:solidFill>
                  <a:srgbClr val="0070C0"/>
                </a:solidFill>
              </a:rPr>
              <a:t>ลงทุน</a:t>
            </a:r>
          </a:p>
          <a:p>
            <a:pPr algn="ctr"/>
            <a:r>
              <a:rPr lang="th-TH" sz="3200" dirty="0" smtClean="0">
                <a:solidFill>
                  <a:schemeClr val="tx1"/>
                </a:solidFill>
              </a:rPr>
              <a:t>ที่</a:t>
            </a:r>
            <a:r>
              <a:rPr lang="th-TH" sz="3200" dirty="0" smtClean="0">
                <a:solidFill>
                  <a:schemeClr val="tx1"/>
                </a:solidFill>
              </a:rPr>
              <a:t>ประเทศไทย </a:t>
            </a:r>
            <a:r>
              <a:rPr lang="th-TH" sz="3200" u="sng" dirty="0">
                <a:solidFill>
                  <a:srgbClr val="0070C0"/>
                </a:solidFill>
              </a:rPr>
              <a:t>เพราะเหตุผลดังนี้?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595123" y="819388"/>
            <a:ext cx="1475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rgbClr val="0070C0"/>
                </a:solidFill>
              </a:rPr>
              <a:t>Workshop#1</a:t>
            </a:r>
            <a:endParaRPr lang="en-US" u="sng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840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-6096" y="3048"/>
            <a:ext cx="9067800" cy="12192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th-TH" sz="3200" dirty="0" smtClean="0">
                <a:solidFill>
                  <a:schemeClr val="tx1"/>
                </a:solidFill>
              </a:rPr>
              <a:t>หากท่านเป็นนักลงทุนต่างชาติ จะ</a:t>
            </a:r>
            <a:r>
              <a:rPr lang="th-TH" sz="3200" u="sng" dirty="0" smtClean="0">
                <a:solidFill>
                  <a:srgbClr val="0070C0"/>
                </a:solidFill>
              </a:rPr>
              <a:t>ไม่มา</a:t>
            </a:r>
            <a:r>
              <a:rPr lang="th-TH" sz="3200" u="sng" dirty="0" smtClean="0">
                <a:solidFill>
                  <a:srgbClr val="0070C0"/>
                </a:solidFill>
              </a:rPr>
              <a:t>ลงทุน</a:t>
            </a:r>
          </a:p>
          <a:p>
            <a:pPr algn="ctr"/>
            <a:r>
              <a:rPr lang="th-TH" sz="3200" dirty="0" smtClean="0">
                <a:solidFill>
                  <a:schemeClr val="tx1"/>
                </a:solidFill>
              </a:rPr>
              <a:t>ที่</a:t>
            </a:r>
            <a:r>
              <a:rPr lang="th-TH" sz="3200" dirty="0" smtClean="0">
                <a:solidFill>
                  <a:schemeClr val="tx1"/>
                </a:solidFill>
              </a:rPr>
              <a:t>ประเทศไทย </a:t>
            </a:r>
            <a:r>
              <a:rPr lang="th-TH" sz="3200" u="sng" dirty="0">
                <a:solidFill>
                  <a:srgbClr val="0070C0"/>
                </a:solidFill>
              </a:rPr>
              <a:t>เพราะเหตุผลดังนี้?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6D83A46-A5C8-4ADC-A7FC-C178C7711462}" type="slidenum">
              <a:rPr lang="en-US" sz="2000" smtClean="0">
                <a:solidFill>
                  <a:prstClr val="black">
                    <a:tint val="75000"/>
                  </a:prst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en-US" sz="2000">
              <a:solidFill>
                <a:prstClr val="black">
                  <a:tint val="75000"/>
                </a:prstClr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9035" y="1524000"/>
            <a:ext cx="8576110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0. คนงาน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/ลูกจ้างขี้เกียจ ไม่พยายามเรียนรู้ที่จะทำงาน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1. คน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ไทยขาดวินัย ความรับผิดชอบต่ำ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2. ระบบ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ศึกษาไม่ดี</a:t>
            </a:r>
            <a:endParaRPr lang="en-US" sz="32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3. ทักษะ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แรงงานไม่</a:t>
            </a: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อ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4. </a:t>
            </a: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ศูนย์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ข้อมูลภาครัฐไม่มีประสิทธิภาพ / ไม่ครบถ้วน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5. ภัย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ธรรมชาติ สภาพอากาศเป็นพิษ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6. ขอทาน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าก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7. การ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ดินทางลำบาก</a:t>
            </a:r>
            <a:endParaRPr lang="en-US" sz="32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8. ไม่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ชื่อมั่นระบบความยุติธรรม/การ</a:t>
            </a: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ปกครอง</a:t>
            </a:r>
            <a:r>
              <a:rPr lang="en-US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ซุก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ใต้</a:t>
            </a: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รม</a:t>
            </a:r>
            <a:endParaRPr lang="th-TH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th-TH" sz="22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299420" y="871204"/>
            <a:ext cx="1475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rgbClr val="0070C0"/>
                </a:solidFill>
              </a:rPr>
              <a:t>Workshop#1</a:t>
            </a:r>
            <a:endParaRPr lang="en-US" u="sng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1506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lide Number Placeholder 3"/>
          <p:cNvSpPr txBox="1">
            <a:spLocks/>
          </p:cNvSpPr>
          <p:nvPr/>
        </p:nvSpPr>
        <p:spPr bwMode="auto">
          <a:xfrm>
            <a:off x="7239000" y="6477000"/>
            <a:ext cx="1905000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th-TH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2400" i="1" kern="1200"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6858FF"/>
                    </a:outerShdw>
                  </a:cont>
                  <a:cont type="tree" name="">
                    <a:effect ref="fillLine"/>
                    <a:outerShdw dist="38100" dir="2700000" algn="tl">
                      <a:srgbClr val="0E0286"/>
                    </a:outerShdw>
                  </a:cont>
                  <a:effect ref="fillLine"/>
                </a:effectDag>
                <a:latin typeface="BrowalliaUPC" pitchFamily="34" charset="-34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+mn-cs"/>
              </a:defRPr>
            </a:lvl9pPr>
          </a:lstStyle>
          <a:p>
            <a:pPr>
              <a:defRPr/>
            </a:pPr>
            <a:fld id="{88E98EE7-0A8A-4BBD-A6B2-17E6927DFA36}" type="slidenum">
              <a:rPr lang="en-US" smtClean="0">
                <a:solidFill>
                  <a:srgbClr val="1904E0"/>
                </a:solidFill>
              </a:rPr>
              <a:pPr>
                <a:defRPr/>
              </a:pPr>
              <a:t>15</a:t>
            </a:fld>
            <a:endParaRPr lang="th-TH" sz="1800" smtClean="0">
              <a:solidFill>
                <a:srgbClr val="1904E0"/>
              </a:solidFill>
            </a:endParaRPr>
          </a:p>
        </p:txBody>
      </p:sp>
      <p:grpSp>
        <p:nvGrpSpPr>
          <p:cNvPr id="45" name="Group 3"/>
          <p:cNvGrpSpPr>
            <a:grpSpLocks/>
          </p:cNvGrpSpPr>
          <p:nvPr/>
        </p:nvGrpSpPr>
        <p:grpSpPr bwMode="auto">
          <a:xfrm>
            <a:off x="3274864" y="2403475"/>
            <a:ext cx="2560638" cy="2560638"/>
            <a:chOff x="2054" y="1514"/>
            <a:chExt cx="1613" cy="1613"/>
          </a:xfrm>
        </p:grpSpPr>
        <p:sp>
          <p:nvSpPr>
            <p:cNvPr id="46" name="Freeform 4"/>
            <p:cNvSpPr>
              <a:spLocks/>
            </p:cNvSpPr>
            <p:nvPr/>
          </p:nvSpPr>
          <p:spPr bwMode="auto">
            <a:xfrm>
              <a:off x="2644" y="1568"/>
              <a:ext cx="1023" cy="1559"/>
            </a:xfrm>
            <a:custGeom>
              <a:avLst/>
              <a:gdLst>
                <a:gd name="T0" fmla="*/ 436 w 2045"/>
                <a:gd name="T1" fmla="*/ 1438 h 3118"/>
                <a:gd name="T2" fmla="*/ 673 w 2045"/>
                <a:gd name="T3" fmla="*/ 1617 h 3118"/>
                <a:gd name="T4" fmla="*/ 816 w 2045"/>
                <a:gd name="T5" fmla="*/ 1772 h 3118"/>
                <a:gd name="T6" fmla="*/ 915 w 2045"/>
                <a:gd name="T7" fmla="*/ 1987 h 3118"/>
                <a:gd name="T8" fmla="*/ 961 w 2045"/>
                <a:gd name="T9" fmla="*/ 2178 h 3118"/>
                <a:gd name="T10" fmla="*/ 957 w 2045"/>
                <a:gd name="T11" fmla="*/ 2346 h 3118"/>
                <a:gd name="T12" fmla="*/ 904 w 2045"/>
                <a:gd name="T13" fmla="*/ 2555 h 3118"/>
                <a:gd name="T14" fmla="*/ 800 w 2045"/>
                <a:gd name="T15" fmla="*/ 2740 h 3118"/>
                <a:gd name="T16" fmla="*/ 650 w 2045"/>
                <a:gd name="T17" fmla="*/ 2904 h 3118"/>
                <a:gd name="T18" fmla="*/ 514 w 2045"/>
                <a:gd name="T19" fmla="*/ 2997 h 3118"/>
                <a:gd name="T20" fmla="*/ 364 w 2045"/>
                <a:gd name="T21" fmla="*/ 3053 h 3118"/>
                <a:gd name="T22" fmla="*/ 225 w 2045"/>
                <a:gd name="T23" fmla="*/ 3069 h 3118"/>
                <a:gd name="T24" fmla="*/ 0 w 2045"/>
                <a:gd name="T25" fmla="*/ 3059 h 3118"/>
                <a:gd name="T26" fmla="*/ 203 w 2045"/>
                <a:gd name="T27" fmla="*/ 3101 h 3118"/>
                <a:gd name="T28" fmla="*/ 394 w 2045"/>
                <a:gd name="T29" fmla="*/ 3118 h 3118"/>
                <a:gd name="T30" fmla="*/ 561 w 2045"/>
                <a:gd name="T31" fmla="*/ 3113 h 3118"/>
                <a:gd name="T32" fmla="*/ 740 w 2045"/>
                <a:gd name="T33" fmla="*/ 3088 h 3118"/>
                <a:gd name="T34" fmla="*/ 953 w 2045"/>
                <a:gd name="T35" fmla="*/ 3033 h 3118"/>
                <a:gd name="T36" fmla="*/ 1146 w 2045"/>
                <a:gd name="T37" fmla="*/ 2951 h 3118"/>
                <a:gd name="T38" fmla="*/ 1338 w 2045"/>
                <a:gd name="T39" fmla="*/ 2841 h 3118"/>
                <a:gd name="T40" fmla="*/ 1479 w 2045"/>
                <a:gd name="T41" fmla="*/ 2728 h 3118"/>
                <a:gd name="T42" fmla="*/ 1618 w 2045"/>
                <a:gd name="T43" fmla="*/ 2597 h 3118"/>
                <a:gd name="T44" fmla="*/ 1729 w 2045"/>
                <a:gd name="T45" fmla="*/ 2459 h 3118"/>
                <a:gd name="T46" fmla="*/ 1831 w 2045"/>
                <a:gd name="T47" fmla="*/ 2310 h 3118"/>
                <a:gd name="T48" fmla="*/ 1911 w 2045"/>
                <a:gd name="T49" fmla="*/ 2147 h 3118"/>
                <a:gd name="T50" fmla="*/ 1976 w 2045"/>
                <a:gd name="T51" fmla="*/ 1964 h 3118"/>
                <a:gd name="T52" fmla="*/ 2022 w 2045"/>
                <a:gd name="T53" fmla="*/ 1778 h 3118"/>
                <a:gd name="T54" fmla="*/ 2042 w 2045"/>
                <a:gd name="T55" fmla="*/ 1581 h 3118"/>
                <a:gd name="T56" fmla="*/ 2042 w 2045"/>
                <a:gd name="T57" fmla="*/ 1398 h 3118"/>
                <a:gd name="T58" fmla="*/ 2012 w 2045"/>
                <a:gd name="T59" fmla="*/ 1178 h 3118"/>
                <a:gd name="T60" fmla="*/ 1962 w 2045"/>
                <a:gd name="T61" fmla="*/ 988 h 3118"/>
                <a:gd name="T62" fmla="*/ 1892 w 2045"/>
                <a:gd name="T63" fmla="*/ 826 h 3118"/>
                <a:gd name="T64" fmla="*/ 1807 w 2045"/>
                <a:gd name="T65" fmla="*/ 659 h 3118"/>
                <a:gd name="T66" fmla="*/ 1690 w 2045"/>
                <a:gd name="T67" fmla="*/ 498 h 3118"/>
                <a:gd name="T68" fmla="*/ 1570 w 2045"/>
                <a:gd name="T69" fmla="*/ 360 h 3118"/>
                <a:gd name="T70" fmla="*/ 1449 w 2045"/>
                <a:gd name="T71" fmla="*/ 249 h 3118"/>
                <a:gd name="T72" fmla="*/ 1301 w 2045"/>
                <a:gd name="T73" fmla="*/ 143 h 3118"/>
                <a:gd name="T74" fmla="*/ 1176 w 2045"/>
                <a:gd name="T75" fmla="*/ 75 h 3118"/>
                <a:gd name="T76" fmla="*/ 1057 w 2045"/>
                <a:gd name="T77" fmla="*/ 33 h 3118"/>
                <a:gd name="T78" fmla="*/ 899 w 2045"/>
                <a:gd name="T79" fmla="*/ 3 h 3118"/>
                <a:gd name="T80" fmla="*/ 765 w 2045"/>
                <a:gd name="T81" fmla="*/ 3 h 3118"/>
                <a:gd name="T82" fmla="*/ 594 w 2045"/>
                <a:gd name="T83" fmla="*/ 36 h 3118"/>
                <a:gd name="T84" fmla="*/ 458 w 2045"/>
                <a:gd name="T85" fmla="*/ 101 h 3118"/>
                <a:gd name="T86" fmla="*/ 333 w 2045"/>
                <a:gd name="T87" fmla="*/ 191 h 3118"/>
                <a:gd name="T88" fmla="*/ 225 w 2045"/>
                <a:gd name="T89" fmla="*/ 308 h 3118"/>
                <a:gd name="T90" fmla="*/ 143 w 2045"/>
                <a:gd name="T91" fmla="*/ 448 h 3118"/>
                <a:gd name="T92" fmla="*/ 96 w 2045"/>
                <a:gd name="T93" fmla="*/ 613 h 3118"/>
                <a:gd name="T94" fmla="*/ 82 w 2045"/>
                <a:gd name="T95" fmla="*/ 788 h 3118"/>
                <a:gd name="T96" fmla="*/ 113 w 2045"/>
                <a:gd name="T97" fmla="*/ 974 h 3118"/>
                <a:gd name="T98" fmla="*/ 185 w 2045"/>
                <a:gd name="T99" fmla="*/ 1135 h 3118"/>
                <a:gd name="T100" fmla="*/ 293 w 2045"/>
                <a:gd name="T101" fmla="*/ 1288 h 3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45" h="3118">
                  <a:moveTo>
                    <a:pt x="364" y="1368"/>
                  </a:moveTo>
                  <a:lnTo>
                    <a:pt x="436" y="1438"/>
                  </a:lnTo>
                  <a:lnTo>
                    <a:pt x="511" y="1497"/>
                  </a:lnTo>
                  <a:lnTo>
                    <a:pt x="673" y="1617"/>
                  </a:lnTo>
                  <a:lnTo>
                    <a:pt x="756" y="1694"/>
                  </a:lnTo>
                  <a:lnTo>
                    <a:pt x="816" y="1772"/>
                  </a:lnTo>
                  <a:lnTo>
                    <a:pt x="880" y="1891"/>
                  </a:lnTo>
                  <a:lnTo>
                    <a:pt x="915" y="1987"/>
                  </a:lnTo>
                  <a:lnTo>
                    <a:pt x="949" y="2086"/>
                  </a:lnTo>
                  <a:lnTo>
                    <a:pt x="961" y="2178"/>
                  </a:lnTo>
                  <a:lnTo>
                    <a:pt x="963" y="2268"/>
                  </a:lnTo>
                  <a:lnTo>
                    <a:pt x="957" y="2346"/>
                  </a:lnTo>
                  <a:lnTo>
                    <a:pt x="939" y="2454"/>
                  </a:lnTo>
                  <a:lnTo>
                    <a:pt x="904" y="2555"/>
                  </a:lnTo>
                  <a:lnTo>
                    <a:pt x="859" y="2644"/>
                  </a:lnTo>
                  <a:lnTo>
                    <a:pt x="800" y="2740"/>
                  </a:lnTo>
                  <a:lnTo>
                    <a:pt x="716" y="2837"/>
                  </a:lnTo>
                  <a:lnTo>
                    <a:pt x="650" y="2904"/>
                  </a:lnTo>
                  <a:lnTo>
                    <a:pt x="583" y="2956"/>
                  </a:lnTo>
                  <a:lnTo>
                    <a:pt x="514" y="2997"/>
                  </a:lnTo>
                  <a:lnTo>
                    <a:pt x="441" y="3029"/>
                  </a:lnTo>
                  <a:lnTo>
                    <a:pt x="364" y="3053"/>
                  </a:lnTo>
                  <a:lnTo>
                    <a:pt x="281" y="3064"/>
                  </a:lnTo>
                  <a:lnTo>
                    <a:pt x="225" y="3069"/>
                  </a:lnTo>
                  <a:lnTo>
                    <a:pt x="159" y="3071"/>
                  </a:lnTo>
                  <a:lnTo>
                    <a:pt x="0" y="3059"/>
                  </a:lnTo>
                  <a:lnTo>
                    <a:pt x="117" y="3087"/>
                  </a:lnTo>
                  <a:lnTo>
                    <a:pt x="203" y="3101"/>
                  </a:lnTo>
                  <a:lnTo>
                    <a:pt x="298" y="3113"/>
                  </a:lnTo>
                  <a:lnTo>
                    <a:pt x="394" y="3118"/>
                  </a:lnTo>
                  <a:lnTo>
                    <a:pt x="476" y="3118"/>
                  </a:lnTo>
                  <a:lnTo>
                    <a:pt x="561" y="3113"/>
                  </a:lnTo>
                  <a:lnTo>
                    <a:pt x="655" y="3104"/>
                  </a:lnTo>
                  <a:lnTo>
                    <a:pt x="740" y="3088"/>
                  </a:lnTo>
                  <a:lnTo>
                    <a:pt x="842" y="3064"/>
                  </a:lnTo>
                  <a:lnTo>
                    <a:pt x="953" y="3033"/>
                  </a:lnTo>
                  <a:lnTo>
                    <a:pt x="1061" y="2991"/>
                  </a:lnTo>
                  <a:lnTo>
                    <a:pt x="1146" y="2951"/>
                  </a:lnTo>
                  <a:lnTo>
                    <a:pt x="1240" y="2902"/>
                  </a:lnTo>
                  <a:lnTo>
                    <a:pt x="1338" y="2841"/>
                  </a:lnTo>
                  <a:lnTo>
                    <a:pt x="1409" y="2785"/>
                  </a:lnTo>
                  <a:lnTo>
                    <a:pt x="1479" y="2728"/>
                  </a:lnTo>
                  <a:lnTo>
                    <a:pt x="1552" y="2661"/>
                  </a:lnTo>
                  <a:lnTo>
                    <a:pt x="1618" y="2597"/>
                  </a:lnTo>
                  <a:lnTo>
                    <a:pt x="1672" y="2531"/>
                  </a:lnTo>
                  <a:lnTo>
                    <a:pt x="1729" y="2459"/>
                  </a:lnTo>
                  <a:lnTo>
                    <a:pt x="1779" y="2388"/>
                  </a:lnTo>
                  <a:lnTo>
                    <a:pt x="1831" y="2310"/>
                  </a:lnTo>
                  <a:lnTo>
                    <a:pt x="1872" y="2231"/>
                  </a:lnTo>
                  <a:lnTo>
                    <a:pt x="1911" y="2147"/>
                  </a:lnTo>
                  <a:lnTo>
                    <a:pt x="1946" y="2059"/>
                  </a:lnTo>
                  <a:lnTo>
                    <a:pt x="1976" y="1964"/>
                  </a:lnTo>
                  <a:lnTo>
                    <a:pt x="2003" y="1872"/>
                  </a:lnTo>
                  <a:lnTo>
                    <a:pt x="2022" y="1778"/>
                  </a:lnTo>
                  <a:lnTo>
                    <a:pt x="2036" y="1671"/>
                  </a:lnTo>
                  <a:lnTo>
                    <a:pt x="2042" y="1581"/>
                  </a:lnTo>
                  <a:lnTo>
                    <a:pt x="2045" y="1492"/>
                  </a:lnTo>
                  <a:lnTo>
                    <a:pt x="2042" y="1398"/>
                  </a:lnTo>
                  <a:lnTo>
                    <a:pt x="2029" y="1290"/>
                  </a:lnTo>
                  <a:lnTo>
                    <a:pt x="2012" y="1178"/>
                  </a:lnTo>
                  <a:lnTo>
                    <a:pt x="1988" y="1084"/>
                  </a:lnTo>
                  <a:lnTo>
                    <a:pt x="1962" y="988"/>
                  </a:lnTo>
                  <a:lnTo>
                    <a:pt x="1932" y="910"/>
                  </a:lnTo>
                  <a:lnTo>
                    <a:pt x="1892" y="826"/>
                  </a:lnTo>
                  <a:lnTo>
                    <a:pt x="1857" y="749"/>
                  </a:lnTo>
                  <a:lnTo>
                    <a:pt x="1807" y="659"/>
                  </a:lnTo>
                  <a:lnTo>
                    <a:pt x="1749" y="571"/>
                  </a:lnTo>
                  <a:lnTo>
                    <a:pt x="1690" y="498"/>
                  </a:lnTo>
                  <a:lnTo>
                    <a:pt x="1634" y="428"/>
                  </a:lnTo>
                  <a:lnTo>
                    <a:pt x="1570" y="360"/>
                  </a:lnTo>
                  <a:lnTo>
                    <a:pt x="1505" y="296"/>
                  </a:lnTo>
                  <a:lnTo>
                    <a:pt x="1449" y="249"/>
                  </a:lnTo>
                  <a:lnTo>
                    <a:pt x="1377" y="191"/>
                  </a:lnTo>
                  <a:lnTo>
                    <a:pt x="1301" y="143"/>
                  </a:lnTo>
                  <a:lnTo>
                    <a:pt x="1240" y="107"/>
                  </a:lnTo>
                  <a:lnTo>
                    <a:pt x="1176" y="75"/>
                  </a:lnTo>
                  <a:lnTo>
                    <a:pt x="1116" y="52"/>
                  </a:lnTo>
                  <a:lnTo>
                    <a:pt x="1057" y="33"/>
                  </a:lnTo>
                  <a:lnTo>
                    <a:pt x="967" y="12"/>
                  </a:lnTo>
                  <a:lnTo>
                    <a:pt x="899" y="3"/>
                  </a:lnTo>
                  <a:lnTo>
                    <a:pt x="829" y="0"/>
                  </a:lnTo>
                  <a:lnTo>
                    <a:pt x="765" y="3"/>
                  </a:lnTo>
                  <a:lnTo>
                    <a:pt x="678" y="15"/>
                  </a:lnTo>
                  <a:lnTo>
                    <a:pt x="594" y="36"/>
                  </a:lnTo>
                  <a:lnTo>
                    <a:pt x="519" y="66"/>
                  </a:lnTo>
                  <a:lnTo>
                    <a:pt x="458" y="101"/>
                  </a:lnTo>
                  <a:lnTo>
                    <a:pt x="388" y="143"/>
                  </a:lnTo>
                  <a:lnTo>
                    <a:pt x="333" y="191"/>
                  </a:lnTo>
                  <a:lnTo>
                    <a:pt x="275" y="245"/>
                  </a:lnTo>
                  <a:lnTo>
                    <a:pt x="225" y="308"/>
                  </a:lnTo>
                  <a:lnTo>
                    <a:pt x="179" y="376"/>
                  </a:lnTo>
                  <a:lnTo>
                    <a:pt x="143" y="448"/>
                  </a:lnTo>
                  <a:lnTo>
                    <a:pt x="117" y="529"/>
                  </a:lnTo>
                  <a:lnTo>
                    <a:pt x="96" y="613"/>
                  </a:lnTo>
                  <a:lnTo>
                    <a:pt x="84" y="699"/>
                  </a:lnTo>
                  <a:lnTo>
                    <a:pt x="82" y="788"/>
                  </a:lnTo>
                  <a:lnTo>
                    <a:pt x="94" y="888"/>
                  </a:lnTo>
                  <a:lnTo>
                    <a:pt x="113" y="974"/>
                  </a:lnTo>
                  <a:lnTo>
                    <a:pt x="147" y="1057"/>
                  </a:lnTo>
                  <a:lnTo>
                    <a:pt x="185" y="1135"/>
                  </a:lnTo>
                  <a:lnTo>
                    <a:pt x="233" y="1204"/>
                  </a:lnTo>
                  <a:lnTo>
                    <a:pt x="293" y="1288"/>
                  </a:lnTo>
                  <a:lnTo>
                    <a:pt x="364" y="1368"/>
                  </a:ln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 prst="relaxedInset"/>
            </a:sp3d>
            <a:extLst>
              <a:ext uri="{91240B29-F687-4F45-9708-019B960494DF}">
                <a14:hiddenLine xmlns:a14="http://schemas.microsoft.com/office/drawing/2010/main" w="14288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>
                <a:defRPr/>
              </a:pPr>
              <a:endParaRPr lang="th-TH" sz="3600" kern="0">
                <a:solidFill>
                  <a:srgbClr val="FFFF00"/>
                </a:solidFill>
                <a:latin typeface="AngsanaUPC" pitchFamily="18" charset="-34"/>
                <a:cs typeface="LilyUPC" panose="020B0604020202020204" pitchFamily="34" charset="-34"/>
              </a:endParaRPr>
            </a:p>
          </p:txBody>
        </p:sp>
        <p:sp>
          <p:nvSpPr>
            <p:cNvPr id="47" name="Freeform 5"/>
            <p:cNvSpPr>
              <a:spLocks/>
            </p:cNvSpPr>
            <p:nvPr/>
          </p:nvSpPr>
          <p:spPr bwMode="auto">
            <a:xfrm>
              <a:off x="2054" y="1514"/>
              <a:ext cx="1022" cy="1559"/>
            </a:xfrm>
            <a:custGeom>
              <a:avLst/>
              <a:gdLst>
                <a:gd name="T0" fmla="*/ 1609 w 2046"/>
                <a:gd name="T1" fmla="*/ 1681 h 3119"/>
                <a:gd name="T2" fmla="*/ 1372 w 2046"/>
                <a:gd name="T3" fmla="*/ 1502 h 3119"/>
                <a:gd name="T4" fmla="*/ 1229 w 2046"/>
                <a:gd name="T5" fmla="*/ 1347 h 3119"/>
                <a:gd name="T6" fmla="*/ 1130 w 2046"/>
                <a:gd name="T7" fmla="*/ 1131 h 3119"/>
                <a:gd name="T8" fmla="*/ 1085 w 2046"/>
                <a:gd name="T9" fmla="*/ 941 h 3119"/>
                <a:gd name="T10" fmla="*/ 1088 w 2046"/>
                <a:gd name="T11" fmla="*/ 773 h 3119"/>
                <a:gd name="T12" fmla="*/ 1142 w 2046"/>
                <a:gd name="T13" fmla="*/ 564 h 3119"/>
                <a:gd name="T14" fmla="*/ 1245 w 2046"/>
                <a:gd name="T15" fmla="*/ 378 h 3119"/>
                <a:gd name="T16" fmla="*/ 1395 w 2046"/>
                <a:gd name="T17" fmla="*/ 215 h 3119"/>
                <a:gd name="T18" fmla="*/ 1532 w 2046"/>
                <a:gd name="T19" fmla="*/ 122 h 3119"/>
                <a:gd name="T20" fmla="*/ 1682 w 2046"/>
                <a:gd name="T21" fmla="*/ 66 h 3119"/>
                <a:gd name="T22" fmla="*/ 1821 w 2046"/>
                <a:gd name="T23" fmla="*/ 50 h 3119"/>
                <a:gd name="T24" fmla="*/ 2046 w 2046"/>
                <a:gd name="T25" fmla="*/ 60 h 3119"/>
                <a:gd name="T26" fmla="*/ 1842 w 2046"/>
                <a:gd name="T27" fmla="*/ 18 h 3119"/>
                <a:gd name="T28" fmla="*/ 1651 w 2046"/>
                <a:gd name="T29" fmla="*/ 0 h 3119"/>
                <a:gd name="T30" fmla="*/ 1485 w 2046"/>
                <a:gd name="T31" fmla="*/ 6 h 3119"/>
                <a:gd name="T32" fmla="*/ 1306 w 2046"/>
                <a:gd name="T33" fmla="*/ 30 h 3119"/>
                <a:gd name="T34" fmla="*/ 1092 w 2046"/>
                <a:gd name="T35" fmla="*/ 85 h 3119"/>
                <a:gd name="T36" fmla="*/ 900 w 2046"/>
                <a:gd name="T37" fmla="*/ 167 h 3119"/>
                <a:gd name="T38" fmla="*/ 708 w 2046"/>
                <a:gd name="T39" fmla="*/ 277 h 3119"/>
                <a:gd name="T40" fmla="*/ 567 w 2046"/>
                <a:gd name="T41" fmla="*/ 390 h 3119"/>
                <a:gd name="T42" fmla="*/ 428 w 2046"/>
                <a:gd name="T43" fmla="*/ 522 h 3119"/>
                <a:gd name="T44" fmla="*/ 317 w 2046"/>
                <a:gd name="T45" fmla="*/ 660 h 3119"/>
                <a:gd name="T46" fmla="*/ 215 w 2046"/>
                <a:gd name="T47" fmla="*/ 808 h 3119"/>
                <a:gd name="T48" fmla="*/ 135 w 2046"/>
                <a:gd name="T49" fmla="*/ 972 h 3119"/>
                <a:gd name="T50" fmla="*/ 69 w 2046"/>
                <a:gd name="T51" fmla="*/ 1155 h 3119"/>
                <a:gd name="T52" fmla="*/ 24 w 2046"/>
                <a:gd name="T53" fmla="*/ 1340 h 3119"/>
                <a:gd name="T54" fmla="*/ 3 w 2046"/>
                <a:gd name="T55" fmla="*/ 1537 h 3119"/>
                <a:gd name="T56" fmla="*/ 3 w 2046"/>
                <a:gd name="T57" fmla="*/ 1720 h 3119"/>
                <a:gd name="T58" fmla="*/ 34 w 2046"/>
                <a:gd name="T59" fmla="*/ 1940 h 3119"/>
                <a:gd name="T60" fmla="*/ 83 w 2046"/>
                <a:gd name="T61" fmla="*/ 2131 h 3119"/>
                <a:gd name="T62" fmla="*/ 153 w 2046"/>
                <a:gd name="T63" fmla="*/ 2292 h 3119"/>
                <a:gd name="T64" fmla="*/ 238 w 2046"/>
                <a:gd name="T65" fmla="*/ 2459 h 3119"/>
                <a:gd name="T66" fmla="*/ 356 w 2046"/>
                <a:gd name="T67" fmla="*/ 2621 h 3119"/>
                <a:gd name="T68" fmla="*/ 475 w 2046"/>
                <a:gd name="T69" fmla="*/ 2759 h 3119"/>
                <a:gd name="T70" fmla="*/ 597 w 2046"/>
                <a:gd name="T71" fmla="*/ 2870 h 3119"/>
                <a:gd name="T72" fmla="*/ 745 w 2046"/>
                <a:gd name="T73" fmla="*/ 2975 h 3119"/>
                <a:gd name="T74" fmla="*/ 869 w 2046"/>
                <a:gd name="T75" fmla="*/ 3043 h 3119"/>
                <a:gd name="T76" fmla="*/ 989 w 2046"/>
                <a:gd name="T77" fmla="*/ 3085 h 3119"/>
                <a:gd name="T78" fmla="*/ 1146 w 2046"/>
                <a:gd name="T79" fmla="*/ 3115 h 3119"/>
                <a:gd name="T80" fmla="*/ 1281 w 2046"/>
                <a:gd name="T81" fmla="*/ 3115 h 3119"/>
                <a:gd name="T82" fmla="*/ 1451 w 2046"/>
                <a:gd name="T83" fmla="*/ 3083 h 3119"/>
                <a:gd name="T84" fmla="*/ 1588 w 2046"/>
                <a:gd name="T85" fmla="*/ 3017 h 3119"/>
                <a:gd name="T86" fmla="*/ 1713 w 2046"/>
                <a:gd name="T87" fmla="*/ 2928 h 3119"/>
                <a:gd name="T88" fmla="*/ 1821 w 2046"/>
                <a:gd name="T89" fmla="*/ 2811 h 3119"/>
                <a:gd name="T90" fmla="*/ 1902 w 2046"/>
                <a:gd name="T91" fmla="*/ 2671 h 3119"/>
                <a:gd name="T92" fmla="*/ 1950 w 2046"/>
                <a:gd name="T93" fmla="*/ 2506 h 3119"/>
                <a:gd name="T94" fmla="*/ 1964 w 2046"/>
                <a:gd name="T95" fmla="*/ 2330 h 3119"/>
                <a:gd name="T96" fmla="*/ 1933 w 2046"/>
                <a:gd name="T97" fmla="*/ 2145 h 3119"/>
                <a:gd name="T98" fmla="*/ 1860 w 2046"/>
                <a:gd name="T99" fmla="*/ 1983 h 3119"/>
                <a:gd name="T100" fmla="*/ 1753 w 2046"/>
                <a:gd name="T101" fmla="*/ 1830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46" h="3119">
                  <a:moveTo>
                    <a:pt x="1682" y="1751"/>
                  </a:moveTo>
                  <a:lnTo>
                    <a:pt x="1609" y="1681"/>
                  </a:lnTo>
                  <a:lnTo>
                    <a:pt x="1534" y="1621"/>
                  </a:lnTo>
                  <a:lnTo>
                    <a:pt x="1372" y="1502"/>
                  </a:lnTo>
                  <a:lnTo>
                    <a:pt x="1290" y="1424"/>
                  </a:lnTo>
                  <a:lnTo>
                    <a:pt x="1229" y="1347"/>
                  </a:lnTo>
                  <a:lnTo>
                    <a:pt x="1166" y="1227"/>
                  </a:lnTo>
                  <a:lnTo>
                    <a:pt x="1130" y="1131"/>
                  </a:lnTo>
                  <a:lnTo>
                    <a:pt x="1097" y="1032"/>
                  </a:lnTo>
                  <a:lnTo>
                    <a:pt x="1085" y="941"/>
                  </a:lnTo>
                  <a:lnTo>
                    <a:pt x="1083" y="850"/>
                  </a:lnTo>
                  <a:lnTo>
                    <a:pt x="1088" y="773"/>
                  </a:lnTo>
                  <a:lnTo>
                    <a:pt x="1106" y="665"/>
                  </a:lnTo>
                  <a:lnTo>
                    <a:pt x="1142" y="564"/>
                  </a:lnTo>
                  <a:lnTo>
                    <a:pt x="1186" y="474"/>
                  </a:lnTo>
                  <a:lnTo>
                    <a:pt x="1245" y="378"/>
                  </a:lnTo>
                  <a:lnTo>
                    <a:pt x="1329" y="281"/>
                  </a:lnTo>
                  <a:lnTo>
                    <a:pt x="1395" y="215"/>
                  </a:lnTo>
                  <a:lnTo>
                    <a:pt x="1463" y="163"/>
                  </a:lnTo>
                  <a:lnTo>
                    <a:pt x="1532" y="122"/>
                  </a:lnTo>
                  <a:lnTo>
                    <a:pt x="1604" y="90"/>
                  </a:lnTo>
                  <a:lnTo>
                    <a:pt x="1682" y="66"/>
                  </a:lnTo>
                  <a:lnTo>
                    <a:pt x="1765" y="54"/>
                  </a:lnTo>
                  <a:lnTo>
                    <a:pt x="1821" y="50"/>
                  </a:lnTo>
                  <a:lnTo>
                    <a:pt x="1886" y="48"/>
                  </a:lnTo>
                  <a:lnTo>
                    <a:pt x="2046" y="60"/>
                  </a:lnTo>
                  <a:lnTo>
                    <a:pt x="1928" y="32"/>
                  </a:lnTo>
                  <a:lnTo>
                    <a:pt x="1842" y="18"/>
                  </a:lnTo>
                  <a:lnTo>
                    <a:pt x="1747" y="6"/>
                  </a:lnTo>
                  <a:lnTo>
                    <a:pt x="1651" y="0"/>
                  </a:lnTo>
                  <a:lnTo>
                    <a:pt x="1570" y="0"/>
                  </a:lnTo>
                  <a:lnTo>
                    <a:pt x="1485" y="6"/>
                  </a:lnTo>
                  <a:lnTo>
                    <a:pt x="1391" y="14"/>
                  </a:lnTo>
                  <a:lnTo>
                    <a:pt x="1306" y="30"/>
                  </a:lnTo>
                  <a:lnTo>
                    <a:pt x="1203" y="54"/>
                  </a:lnTo>
                  <a:lnTo>
                    <a:pt x="1092" y="85"/>
                  </a:lnTo>
                  <a:lnTo>
                    <a:pt x="985" y="127"/>
                  </a:lnTo>
                  <a:lnTo>
                    <a:pt x="900" y="167"/>
                  </a:lnTo>
                  <a:lnTo>
                    <a:pt x="806" y="217"/>
                  </a:lnTo>
                  <a:lnTo>
                    <a:pt x="708" y="277"/>
                  </a:lnTo>
                  <a:lnTo>
                    <a:pt x="637" y="333"/>
                  </a:lnTo>
                  <a:lnTo>
                    <a:pt x="567" y="390"/>
                  </a:lnTo>
                  <a:lnTo>
                    <a:pt x="494" y="458"/>
                  </a:lnTo>
                  <a:lnTo>
                    <a:pt x="428" y="522"/>
                  </a:lnTo>
                  <a:lnTo>
                    <a:pt x="374" y="587"/>
                  </a:lnTo>
                  <a:lnTo>
                    <a:pt x="317" y="660"/>
                  </a:lnTo>
                  <a:lnTo>
                    <a:pt x="266" y="731"/>
                  </a:lnTo>
                  <a:lnTo>
                    <a:pt x="215" y="808"/>
                  </a:lnTo>
                  <a:lnTo>
                    <a:pt x="174" y="888"/>
                  </a:lnTo>
                  <a:lnTo>
                    <a:pt x="135" y="972"/>
                  </a:lnTo>
                  <a:lnTo>
                    <a:pt x="99" y="1059"/>
                  </a:lnTo>
                  <a:lnTo>
                    <a:pt x="69" y="1155"/>
                  </a:lnTo>
                  <a:lnTo>
                    <a:pt x="42" y="1247"/>
                  </a:lnTo>
                  <a:lnTo>
                    <a:pt x="24" y="1340"/>
                  </a:lnTo>
                  <a:lnTo>
                    <a:pt x="10" y="1448"/>
                  </a:lnTo>
                  <a:lnTo>
                    <a:pt x="3" y="1537"/>
                  </a:lnTo>
                  <a:lnTo>
                    <a:pt x="0" y="1627"/>
                  </a:lnTo>
                  <a:lnTo>
                    <a:pt x="3" y="1720"/>
                  </a:lnTo>
                  <a:lnTo>
                    <a:pt x="16" y="1828"/>
                  </a:lnTo>
                  <a:lnTo>
                    <a:pt x="34" y="1940"/>
                  </a:lnTo>
                  <a:lnTo>
                    <a:pt x="57" y="2035"/>
                  </a:lnTo>
                  <a:lnTo>
                    <a:pt x="83" y="2131"/>
                  </a:lnTo>
                  <a:lnTo>
                    <a:pt x="113" y="2208"/>
                  </a:lnTo>
                  <a:lnTo>
                    <a:pt x="153" y="2292"/>
                  </a:lnTo>
                  <a:lnTo>
                    <a:pt x="189" y="2370"/>
                  </a:lnTo>
                  <a:lnTo>
                    <a:pt x="238" y="2459"/>
                  </a:lnTo>
                  <a:lnTo>
                    <a:pt x="296" y="2548"/>
                  </a:lnTo>
                  <a:lnTo>
                    <a:pt x="356" y="2621"/>
                  </a:lnTo>
                  <a:lnTo>
                    <a:pt x="412" y="2691"/>
                  </a:lnTo>
                  <a:lnTo>
                    <a:pt x="475" y="2759"/>
                  </a:lnTo>
                  <a:lnTo>
                    <a:pt x="541" y="2822"/>
                  </a:lnTo>
                  <a:lnTo>
                    <a:pt x="597" y="2870"/>
                  </a:lnTo>
                  <a:lnTo>
                    <a:pt x="668" y="2928"/>
                  </a:lnTo>
                  <a:lnTo>
                    <a:pt x="745" y="2975"/>
                  </a:lnTo>
                  <a:lnTo>
                    <a:pt x="806" y="3012"/>
                  </a:lnTo>
                  <a:lnTo>
                    <a:pt x="869" y="3043"/>
                  </a:lnTo>
                  <a:lnTo>
                    <a:pt x="930" y="3067"/>
                  </a:lnTo>
                  <a:lnTo>
                    <a:pt x="989" y="3085"/>
                  </a:lnTo>
                  <a:lnTo>
                    <a:pt x="1078" y="3107"/>
                  </a:lnTo>
                  <a:lnTo>
                    <a:pt x="1146" y="3115"/>
                  </a:lnTo>
                  <a:lnTo>
                    <a:pt x="1216" y="3119"/>
                  </a:lnTo>
                  <a:lnTo>
                    <a:pt x="1281" y="3115"/>
                  </a:lnTo>
                  <a:lnTo>
                    <a:pt x="1367" y="3104"/>
                  </a:lnTo>
                  <a:lnTo>
                    <a:pt x="1451" y="3083"/>
                  </a:lnTo>
                  <a:lnTo>
                    <a:pt x="1527" y="3053"/>
                  </a:lnTo>
                  <a:lnTo>
                    <a:pt x="1588" y="3017"/>
                  </a:lnTo>
                  <a:lnTo>
                    <a:pt x="1658" y="2975"/>
                  </a:lnTo>
                  <a:lnTo>
                    <a:pt x="1713" y="2928"/>
                  </a:lnTo>
                  <a:lnTo>
                    <a:pt x="1771" y="2874"/>
                  </a:lnTo>
                  <a:lnTo>
                    <a:pt x="1821" y="2811"/>
                  </a:lnTo>
                  <a:lnTo>
                    <a:pt x="1867" y="2743"/>
                  </a:lnTo>
                  <a:lnTo>
                    <a:pt x="1902" y="2671"/>
                  </a:lnTo>
                  <a:lnTo>
                    <a:pt x="1928" y="2590"/>
                  </a:lnTo>
                  <a:lnTo>
                    <a:pt x="1950" y="2506"/>
                  </a:lnTo>
                  <a:lnTo>
                    <a:pt x="1962" y="2420"/>
                  </a:lnTo>
                  <a:lnTo>
                    <a:pt x="1964" y="2330"/>
                  </a:lnTo>
                  <a:lnTo>
                    <a:pt x="1952" y="2231"/>
                  </a:lnTo>
                  <a:lnTo>
                    <a:pt x="1933" y="2145"/>
                  </a:lnTo>
                  <a:lnTo>
                    <a:pt x="1898" y="2062"/>
                  </a:lnTo>
                  <a:lnTo>
                    <a:pt x="1860" y="1983"/>
                  </a:lnTo>
                  <a:lnTo>
                    <a:pt x="1813" y="1914"/>
                  </a:lnTo>
                  <a:lnTo>
                    <a:pt x="1753" y="1830"/>
                  </a:lnTo>
                  <a:lnTo>
                    <a:pt x="1682" y="1751"/>
                  </a:lnTo>
                  <a:close/>
                </a:path>
              </a:pathLst>
            </a:custGeom>
            <a:solidFill>
              <a:schemeClr val="tx1">
                <a:alpha val="52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 prst="relaxedInset"/>
            </a:sp3d>
            <a:extLst>
              <a:ext uri="{91240B29-F687-4F45-9708-019B960494DF}">
                <a14:hiddenLine xmlns:a14="http://schemas.microsoft.com/office/drawing/2010/main" w="14288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>
                <a:defRPr/>
              </a:pPr>
              <a:endParaRPr lang="th-TH" sz="3600" kern="0">
                <a:solidFill>
                  <a:srgbClr val="FFFF00"/>
                </a:solidFill>
                <a:latin typeface="AngsanaUPC" pitchFamily="18" charset="-34"/>
                <a:cs typeface="LilyUPC" panose="020B0604020202020204" pitchFamily="34" charset="-34"/>
              </a:endParaRPr>
            </a:p>
          </p:txBody>
        </p:sp>
      </p:grpSp>
      <p:sp>
        <p:nvSpPr>
          <p:cNvPr id="48" name="Rectangle 6"/>
          <p:cNvSpPr>
            <a:spLocks noChangeArrowheads="1"/>
          </p:cNvSpPr>
          <p:nvPr/>
        </p:nvSpPr>
        <p:spPr bwMode="auto">
          <a:xfrm>
            <a:off x="142875" y="1831975"/>
            <a:ext cx="3390900" cy="2044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th-TH" sz="2800" b="1" dirty="0">
                <a:solidFill>
                  <a:srgbClr val="FF0000"/>
                </a:solidFill>
                <a:latin typeface="Angsana News" pitchFamily="18" charset="-34"/>
                <a:cs typeface="AngsanaUPC" pitchFamily="18" charset="-34"/>
              </a:rPr>
              <a:t>คนดีสร้าง</a:t>
            </a:r>
            <a:r>
              <a:rPr lang="th-TH" sz="2800" b="1" u="sng" dirty="0">
                <a:solidFill>
                  <a:srgbClr val="000099"/>
                </a:solidFill>
                <a:latin typeface="Angsana News" pitchFamily="18" charset="-34"/>
                <a:cs typeface="AngsanaUPC" pitchFamily="18" charset="-34"/>
              </a:rPr>
              <a:t>ระบบดีมีคุณภาพ</a:t>
            </a:r>
          </a:p>
          <a:p>
            <a:pPr marL="342900" indent="-3429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th-TH" sz="2800" b="1" dirty="0">
                <a:solidFill>
                  <a:srgbClr val="FF0000"/>
                </a:solidFill>
                <a:latin typeface="Angsana News" pitchFamily="18" charset="-34"/>
                <a:cs typeface="AngsanaUPC" pitchFamily="18" charset="-34"/>
              </a:rPr>
              <a:t>ปัญหาราบ</a:t>
            </a:r>
            <a:r>
              <a:rPr lang="th-TH" sz="2800" b="1" u="sng" dirty="0">
                <a:solidFill>
                  <a:srgbClr val="000099"/>
                </a:solidFill>
                <a:latin typeface="Angsana News" pitchFamily="18" charset="-34"/>
                <a:cs typeface="AngsanaUPC" pitchFamily="18" charset="-34"/>
              </a:rPr>
              <a:t>ปราบระบบอุปถัมภ์</a:t>
            </a:r>
          </a:p>
          <a:p>
            <a:pPr marL="342900" indent="-3429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th-TH" sz="2800" b="1" u="sng" dirty="0">
                <a:solidFill>
                  <a:srgbClr val="000099"/>
                </a:solidFill>
                <a:latin typeface="Angsana News" pitchFamily="18" charset="-34"/>
                <a:cs typeface="AngsanaUPC" pitchFamily="18" charset="-34"/>
              </a:rPr>
              <a:t>ระบบดีเสริมคนดี</a:t>
            </a:r>
            <a:r>
              <a:rPr lang="th-TH" sz="2800" b="1" dirty="0">
                <a:solidFill>
                  <a:srgbClr val="FF0000"/>
                </a:solidFill>
                <a:latin typeface="Angsana News" pitchFamily="18" charset="-34"/>
                <a:cs typeface="AngsanaUPC" pitchFamily="18" charset="-34"/>
              </a:rPr>
              <a:t>มีคุณธรรม</a:t>
            </a:r>
          </a:p>
          <a:p>
            <a:pPr marL="342900" indent="-3429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th-TH" sz="2800" b="1" dirty="0">
                <a:solidFill>
                  <a:srgbClr val="FF0000"/>
                </a:solidFill>
                <a:latin typeface="Angsana News" pitchFamily="18" charset="-34"/>
                <a:cs typeface="AngsanaUPC" pitchFamily="18" charset="-34"/>
              </a:rPr>
              <a:t>สองส่วนนำองค์กรไกลให้</a:t>
            </a:r>
            <a:r>
              <a:rPr lang="th-TH" sz="2800" b="1" u="sng" dirty="0">
                <a:solidFill>
                  <a:srgbClr val="000099"/>
                </a:solidFill>
                <a:latin typeface="Angsana News" pitchFamily="18" charset="-34"/>
                <a:cs typeface="AngsanaUPC" pitchFamily="18" charset="-34"/>
              </a:rPr>
              <a:t>วัฒนา</a:t>
            </a:r>
            <a:endParaRPr lang="th-TH" sz="2800" b="1" i="1" u="sng" dirty="0">
              <a:solidFill>
                <a:srgbClr val="000099"/>
              </a:solidFill>
              <a:latin typeface="Angsana News" pitchFamily="18" charset="-34"/>
              <a:cs typeface="AngsanaUPC" pitchFamily="18" charset="-34"/>
            </a:endParaRPr>
          </a:p>
        </p:txBody>
      </p:sp>
      <p:sp>
        <p:nvSpPr>
          <p:cNvPr id="49" name="Rectangle 7"/>
          <p:cNvSpPr>
            <a:spLocks noChangeArrowheads="1"/>
          </p:cNvSpPr>
          <p:nvPr/>
        </p:nvSpPr>
        <p:spPr bwMode="auto">
          <a:xfrm>
            <a:off x="142875" y="4168775"/>
            <a:ext cx="3233738" cy="1697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th-TH" sz="2800" b="1" dirty="0">
                <a:solidFill>
                  <a:srgbClr val="FF0000"/>
                </a:solidFill>
                <a:latin typeface="Angsana News" pitchFamily="18" charset="-34"/>
                <a:cs typeface="AngsanaUPC" pitchFamily="18" charset="-34"/>
              </a:rPr>
              <a:t>คนไม่ดีระบบดีมีที่ไหน</a:t>
            </a:r>
          </a:p>
          <a:p>
            <a:pPr marL="342900" indent="-3429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th-TH" sz="2800" b="1" dirty="0">
                <a:solidFill>
                  <a:srgbClr val="FF0000"/>
                </a:solidFill>
                <a:latin typeface="Angsana News" pitchFamily="18" charset="-34"/>
                <a:cs typeface="AngsanaUPC" pitchFamily="18" charset="-34"/>
              </a:rPr>
              <a:t>คนฉุดให้ระบบจมถมปัญหา</a:t>
            </a:r>
          </a:p>
          <a:p>
            <a:pPr marL="342900" indent="-3429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th-TH" sz="2800" b="1" dirty="0">
                <a:solidFill>
                  <a:srgbClr val="FF0000"/>
                </a:solidFill>
                <a:latin typeface="Angsana News" pitchFamily="18" charset="-34"/>
                <a:cs typeface="AngsanaUPC" pitchFamily="18" charset="-34"/>
              </a:rPr>
              <a:t>ระบบจมถมคนให้ไร้ปัญญา</a:t>
            </a:r>
          </a:p>
          <a:p>
            <a:pPr marL="342900" indent="-3429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th-TH" sz="2800" b="1" dirty="0">
                <a:solidFill>
                  <a:srgbClr val="FF0000"/>
                </a:solidFill>
                <a:latin typeface="Angsana News" pitchFamily="18" charset="-34"/>
                <a:cs typeface="AngsanaUPC" pitchFamily="18" charset="-34"/>
              </a:rPr>
              <a:t>สองส่วนพา องค์กรให้ ไม่เจริญ</a:t>
            </a:r>
            <a:endParaRPr lang="th-TH" sz="2800" b="1" i="1" dirty="0">
              <a:solidFill>
                <a:srgbClr val="FF0000"/>
              </a:solidFill>
              <a:latin typeface="Angsana News" pitchFamily="18" charset="-34"/>
              <a:cs typeface="AngsanaUPC" pitchFamily="18" charset="-34"/>
            </a:endParaRPr>
          </a:p>
        </p:txBody>
      </p:sp>
      <p:sp>
        <p:nvSpPr>
          <p:cNvPr id="50" name="Rectangle 8"/>
          <p:cNvSpPr>
            <a:spLocks noChangeArrowheads="1"/>
          </p:cNvSpPr>
          <p:nvPr/>
        </p:nvSpPr>
        <p:spPr bwMode="auto">
          <a:xfrm>
            <a:off x="5722938" y="1831975"/>
            <a:ext cx="3192462" cy="1858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algn="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th-TH" sz="2800" b="1" dirty="0">
                <a:solidFill>
                  <a:srgbClr val="FF0000"/>
                </a:solidFill>
                <a:latin typeface="Angsana News" pitchFamily="18" charset="-34"/>
                <a:cs typeface="AngsanaUPC" pitchFamily="18" charset="-34"/>
              </a:rPr>
              <a:t>องค์กรดีเพราะ</a:t>
            </a:r>
            <a:r>
              <a:rPr lang="th-TH" sz="2800" b="1" u="sng" dirty="0">
                <a:solidFill>
                  <a:srgbClr val="000099"/>
                </a:solidFill>
                <a:latin typeface="Angsana News" pitchFamily="18" charset="-34"/>
                <a:cs typeface="AngsanaUPC" pitchFamily="18" charset="-34"/>
              </a:rPr>
              <a:t>คนดีมีความคิด</a:t>
            </a:r>
          </a:p>
          <a:p>
            <a:pPr marL="342900" indent="-342900" algn="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th-TH" sz="2800" b="1" u="sng" dirty="0">
                <a:solidFill>
                  <a:srgbClr val="000099"/>
                </a:solidFill>
                <a:latin typeface="Angsana News" pitchFamily="18" charset="-34"/>
                <a:cs typeface="AngsanaUPC" pitchFamily="18" charset="-34"/>
              </a:rPr>
              <a:t>รู้ถูกผิดรู้คุณค่า</a:t>
            </a:r>
            <a:r>
              <a:rPr lang="th-TH" sz="2800" b="1" dirty="0">
                <a:solidFill>
                  <a:srgbClr val="FF0000"/>
                </a:solidFill>
                <a:latin typeface="Angsana News" pitchFamily="18" charset="-34"/>
                <a:cs typeface="AngsanaUPC" pitchFamily="18" charset="-34"/>
              </a:rPr>
              <a:t>น่าสรรเสริญ</a:t>
            </a:r>
          </a:p>
          <a:p>
            <a:pPr marL="342900" indent="-342900" algn="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th-TH" sz="2800" b="1" u="sng" dirty="0">
                <a:solidFill>
                  <a:srgbClr val="000099"/>
                </a:solidFill>
                <a:latin typeface="Angsana News" pitchFamily="18" charset="-34"/>
                <a:cs typeface="AngsanaUPC" pitchFamily="18" charset="-34"/>
              </a:rPr>
              <a:t>แก้ปัญหา</a:t>
            </a:r>
            <a:r>
              <a:rPr lang="th-TH" sz="2800" b="1" dirty="0">
                <a:solidFill>
                  <a:srgbClr val="FF0000"/>
                </a:solidFill>
                <a:latin typeface="Angsana News" pitchFamily="18" charset="-34"/>
                <a:cs typeface="AngsanaUPC" pitchFamily="18" charset="-34"/>
              </a:rPr>
              <a:t>สิ่งข้องขัด</a:t>
            </a:r>
            <a:r>
              <a:rPr lang="th-TH" sz="2800" b="1" u="sng" dirty="0">
                <a:solidFill>
                  <a:srgbClr val="000099"/>
                </a:solidFill>
                <a:latin typeface="Angsana News" pitchFamily="18" charset="-34"/>
                <a:cs typeface="AngsanaUPC" pitchFamily="18" charset="-34"/>
              </a:rPr>
              <a:t>ตัดส่วนเกิน</a:t>
            </a:r>
          </a:p>
          <a:p>
            <a:pPr marL="342900" indent="-342900" algn="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th-TH" sz="2800" b="1" dirty="0">
                <a:solidFill>
                  <a:srgbClr val="FF0000"/>
                </a:solidFill>
                <a:latin typeface="Angsana News" pitchFamily="18" charset="-34"/>
                <a:cs typeface="AngsanaUPC" pitchFamily="18" charset="-34"/>
              </a:rPr>
              <a:t>เป็นทางเดินสู่วิวัฒน์จัดองค์การ</a:t>
            </a:r>
            <a:endParaRPr lang="th-TH" sz="2800" b="1" i="1" dirty="0">
              <a:solidFill>
                <a:srgbClr val="FF0000"/>
              </a:solidFill>
              <a:latin typeface="Angsana News" pitchFamily="18" charset="-34"/>
              <a:cs typeface="AngsanaUPC" pitchFamily="18" charset="-34"/>
            </a:endParaRPr>
          </a:p>
        </p:txBody>
      </p:sp>
      <p:sp>
        <p:nvSpPr>
          <p:cNvPr id="51" name="Rectangle 9"/>
          <p:cNvSpPr>
            <a:spLocks noChangeArrowheads="1"/>
          </p:cNvSpPr>
          <p:nvPr/>
        </p:nvSpPr>
        <p:spPr bwMode="auto">
          <a:xfrm>
            <a:off x="5189538" y="4237038"/>
            <a:ext cx="3725862" cy="2287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algn="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th-TH" sz="2800" b="1" dirty="0">
                <a:solidFill>
                  <a:srgbClr val="FF0000"/>
                </a:solidFill>
                <a:latin typeface="Angsana News" pitchFamily="18" charset="-34"/>
                <a:cs typeface="AngsanaUPC" pitchFamily="18" charset="-34"/>
              </a:rPr>
              <a:t>สร้างคนดีระบบเด่นเป็น</a:t>
            </a:r>
            <a:r>
              <a:rPr lang="th-TH" sz="2800" b="1" u="sng" dirty="0">
                <a:solidFill>
                  <a:srgbClr val="000099"/>
                </a:solidFill>
                <a:latin typeface="Angsana News" pitchFamily="18" charset="-34"/>
                <a:cs typeface="AngsanaUPC" pitchFamily="18" charset="-34"/>
              </a:rPr>
              <a:t>ธรรมรัฐ</a:t>
            </a:r>
          </a:p>
          <a:p>
            <a:pPr marL="342900" indent="-342900" algn="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th-TH" sz="2800" b="1" dirty="0">
                <a:solidFill>
                  <a:srgbClr val="FF0000"/>
                </a:solidFill>
                <a:latin typeface="Angsana News" pitchFamily="18" charset="-34"/>
                <a:cs typeface="AngsanaUPC" pitchFamily="18" charset="-34"/>
              </a:rPr>
              <a:t>แก้วิบัติ</a:t>
            </a:r>
            <a:r>
              <a:rPr lang="th-TH" sz="2800" b="1" u="sng" dirty="0">
                <a:solidFill>
                  <a:srgbClr val="000099"/>
                </a:solidFill>
                <a:latin typeface="Angsana News" pitchFamily="18" charset="-34"/>
                <a:cs typeface="AngsanaUPC" pitchFamily="18" charset="-34"/>
              </a:rPr>
              <a:t>จัดระเบียบ</a:t>
            </a:r>
            <a:r>
              <a:rPr lang="th-TH" sz="2800" b="1" dirty="0">
                <a:solidFill>
                  <a:srgbClr val="FF0000"/>
                </a:solidFill>
                <a:latin typeface="Angsana News" pitchFamily="18" charset="-34"/>
                <a:cs typeface="AngsanaUPC" pitchFamily="18" charset="-34"/>
              </a:rPr>
              <a:t>เทียบ</a:t>
            </a:r>
            <a:r>
              <a:rPr lang="th-TH" sz="2800" b="1" u="sng" dirty="0">
                <a:solidFill>
                  <a:srgbClr val="000099"/>
                </a:solidFill>
                <a:latin typeface="Angsana News" pitchFamily="18" charset="-34"/>
                <a:cs typeface="AngsanaUPC" pitchFamily="18" charset="-34"/>
              </a:rPr>
              <a:t>มาตรฐาน</a:t>
            </a:r>
            <a:r>
              <a:rPr lang="th-TH" sz="2800" b="1" u="sng" dirty="0">
                <a:solidFill>
                  <a:srgbClr val="FF0000"/>
                </a:solidFill>
                <a:latin typeface="Angsana News" pitchFamily="18" charset="-34"/>
                <a:cs typeface="AngsanaUPC" pitchFamily="18" charset="-34"/>
              </a:rPr>
              <a:t> </a:t>
            </a:r>
          </a:p>
          <a:p>
            <a:pPr marL="342900" indent="-342900" algn="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th-TH" sz="2800" b="1" u="sng" dirty="0">
                <a:solidFill>
                  <a:srgbClr val="000099"/>
                </a:solidFill>
                <a:latin typeface="Angsana News" pitchFamily="18" charset="-34"/>
                <a:cs typeface="AngsanaUPC" pitchFamily="18" charset="-34"/>
              </a:rPr>
              <a:t>ปรับโครงสร้าง</a:t>
            </a:r>
            <a:r>
              <a:rPr lang="th-TH" sz="2800" b="1" dirty="0">
                <a:solidFill>
                  <a:srgbClr val="FF0000"/>
                </a:solidFill>
                <a:latin typeface="Angsana News" pitchFamily="18" charset="-34"/>
                <a:cs typeface="AngsanaUPC" pitchFamily="18" charset="-34"/>
              </a:rPr>
              <a:t>วางแนวคิด</a:t>
            </a:r>
            <a:r>
              <a:rPr lang="th-TH" sz="2800" b="1" u="sng" dirty="0">
                <a:solidFill>
                  <a:srgbClr val="000099"/>
                </a:solidFill>
                <a:latin typeface="Angsana News" pitchFamily="18" charset="-34"/>
                <a:cs typeface="AngsanaUPC" pitchFamily="18" charset="-34"/>
              </a:rPr>
              <a:t>ติดตามงาน</a:t>
            </a:r>
          </a:p>
          <a:p>
            <a:pPr marL="342900" indent="-342900" algn="r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th-TH" sz="2800" b="1" u="sng" dirty="0">
                <a:solidFill>
                  <a:srgbClr val="000099"/>
                </a:solidFill>
                <a:latin typeface="Angsana News" pitchFamily="18" charset="-34"/>
                <a:cs typeface="AngsanaUPC" pitchFamily="18" charset="-34"/>
              </a:rPr>
              <a:t>บริหาร</a:t>
            </a:r>
            <a:r>
              <a:rPr lang="th-TH" sz="2800" b="1" dirty="0">
                <a:solidFill>
                  <a:srgbClr val="FF0000"/>
                </a:solidFill>
                <a:latin typeface="Angsana News" pitchFamily="18" charset="-34"/>
                <a:cs typeface="AngsanaUPC" pitchFamily="18" charset="-34"/>
              </a:rPr>
              <a:t>องค์กรใหม่ให้</a:t>
            </a:r>
            <a:r>
              <a:rPr lang="th-TH" sz="2800" b="1" u="sng" dirty="0">
                <a:solidFill>
                  <a:srgbClr val="000099"/>
                </a:solidFill>
                <a:latin typeface="Angsana News" pitchFamily="18" charset="-34"/>
                <a:cs typeface="AngsanaUPC" pitchFamily="18" charset="-34"/>
              </a:rPr>
              <a:t>ยั่งยืน</a:t>
            </a:r>
          </a:p>
        </p:txBody>
      </p:sp>
      <p:sp>
        <p:nvSpPr>
          <p:cNvPr id="53" name="Freeform 11"/>
          <p:cNvSpPr>
            <a:spLocks/>
          </p:cNvSpPr>
          <p:nvPr/>
        </p:nvSpPr>
        <p:spPr bwMode="auto">
          <a:xfrm>
            <a:off x="9272588" y="2343150"/>
            <a:ext cx="1624012" cy="2474913"/>
          </a:xfrm>
          <a:custGeom>
            <a:avLst/>
            <a:gdLst>
              <a:gd name="T0" fmla="*/ 436 w 2045"/>
              <a:gd name="T1" fmla="*/ 1438 h 3118"/>
              <a:gd name="T2" fmla="*/ 673 w 2045"/>
              <a:gd name="T3" fmla="*/ 1617 h 3118"/>
              <a:gd name="T4" fmla="*/ 816 w 2045"/>
              <a:gd name="T5" fmla="*/ 1772 h 3118"/>
              <a:gd name="T6" fmla="*/ 915 w 2045"/>
              <a:gd name="T7" fmla="*/ 1987 h 3118"/>
              <a:gd name="T8" fmla="*/ 961 w 2045"/>
              <a:gd name="T9" fmla="*/ 2178 h 3118"/>
              <a:gd name="T10" fmla="*/ 957 w 2045"/>
              <a:gd name="T11" fmla="*/ 2346 h 3118"/>
              <a:gd name="T12" fmla="*/ 904 w 2045"/>
              <a:gd name="T13" fmla="*/ 2555 h 3118"/>
              <a:gd name="T14" fmla="*/ 800 w 2045"/>
              <a:gd name="T15" fmla="*/ 2740 h 3118"/>
              <a:gd name="T16" fmla="*/ 650 w 2045"/>
              <a:gd name="T17" fmla="*/ 2904 h 3118"/>
              <a:gd name="T18" fmla="*/ 514 w 2045"/>
              <a:gd name="T19" fmla="*/ 2997 h 3118"/>
              <a:gd name="T20" fmla="*/ 364 w 2045"/>
              <a:gd name="T21" fmla="*/ 3053 h 3118"/>
              <a:gd name="T22" fmla="*/ 225 w 2045"/>
              <a:gd name="T23" fmla="*/ 3069 h 3118"/>
              <a:gd name="T24" fmla="*/ 0 w 2045"/>
              <a:gd name="T25" fmla="*/ 3059 h 3118"/>
              <a:gd name="T26" fmla="*/ 203 w 2045"/>
              <a:gd name="T27" fmla="*/ 3101 h 3118"/>
              <a:gd name="T28" fmla="*/ 394 w 2045"/>
              <a:gd name="T29" fmla="*/ 3118 h 3118"/>
              <a:gd name="T30" fmla="*/ 561 w 2045"/>
              <a:gd name="T31" fmla="*/ 3113 h 3118"/>
              <a:gd name="T32" fmla="*/ 740 w 2045"/>
              <a:gd name="T33" fmla="*/ 3088 h 3118"/>
              <a:gd name="T34" fmla="*/ 953 w 2045"/>
              <a:gd name="T35" fmla="*/ 3033 h 3118"/>
              <a:gd name="T36" fmla="*/ 1146 w 2045"/>
              <a:gd name="T37" fmla="*/ 2951 h 3118"/>
              <a:gd name="T38" fmla="*/ 1338 w 2045"/>
              <a:gd name="T39" fmla="*/ 2841 h 3118"/>
              <a:gd name="T40" fmla="*/ 1479 w 2045"/>
              <a:gd name="T41" fmla="*/ 2728 h 3118"/>
              <a:gd name="T42" fmla="*/ 1618 w 2045"/>
              <a:gd name="T43" fmla="*/ 2597 h 3118"/>
              <a:gd name="T44" fmla="*/ 1729 w 2045"/>
              <a:gd name="T45" fmla="*/ 2459 h 3118"/>
              <a:gd name="T46" fmla="*/ 1831 w 2045"/>
              <a:gd name="T47" fmla="*/ 2310 h 3118"/>
              <a:gd name="T48" fmla="*/ 1911 w 2045"/>
              <a:gd name="T49" fmla="*/ 2147 h 3118"/>
              <a:gd name="T50" fmla="*/ 1976 w 2045"/>
              <a:gd name="T51" fmla="*/ 1964 h 3118"/>
              <a:gd name="T52" fmla="*/ 2022 w 2045"/>
              <a:gd name="T53" fmla="*/ 1778 h 3118"/>
              <a:gd name="T54" fmla="*/ 2042 w 2045"/>
              <a:gd name="T55" fmla="*/ 1581 h 3118"/>
              <a:gd name="T56" fmla="*/ 2042 w 2045"/>
              <a:gd name="T57" fmla="*/ 1398 h 3118"/>
              <a:gd name="T58" fmla="*/ 2012 w 2045"/>
              <a:gd name="T59" fmla="*/ 1178 h 3118"/>
              <a:gd name="T60" fmla="*/ 1962 w 2045"/>
              <a:gd name="T61" fmla="*/ 988 h 3118"/>
              <a:gd name="T62" fmla="*/ 1892 w 2045"/>
              <a:gd name="T63" fmla="*/ 826 h 3118"/>
              <a:gd name="T64" fmla="*/ 1807 w 2045"/>
              <a:gd name="T65" fmla="*/ 659 h 3118"/>
              <a:gd name="T66" fmla="*/ 1690 w 2045"/>
              <a:gd name="T67" fmla="*/ 498 h 3118"/>
              <a:gd name="T68" fmla="*/ 1570 w 2045"/>
              <a:gd name="T69" fmla="*/ 360 h 3118"/>
              <a:gd name="T70" fmla="*/ 1449 w 2045"/>
              <a:gd name="T71" fmla="*/ 249 h 3118"/>
              <a:gd name="T72" fmla="*/ 1301 w 2045"/>
              <a:gd name="T73" fmla="*/ 143 h 3118"/>
              <a:gd name="T74" fmla="*/ 1176 w 2045"/>
              <a:gd name="T75" fmla="*/ 75 h 3118"/>
              <a:gd name="T76" fmla="*/ 1057 w 2045"/>
              <a:gd name="T77" fmla="*/ 33 h 3118"/>
              <a:gd name="T78" fmla="*/ 899 w 2045"/>
              <a:gd name="T79" fmla="*/ 3 h 3118"/>
              <a:gd name="T80" fmla="*/ 765 w 2045"/>
              <a:gd name="T81" fmla="*/ 3 h 3118"/>
              <a:gd name="T82" fmla="*/ 594 w 2045"/>
              <a:gd name="T83" fmla="*/ 36 h 3118"/>
              <a:gd name="T84" fmla="*/ 458 w 2045"/>
              <a:gd name="T85" fmla="*/ 101 h 3118"/>
              <a:gd name="T86" fmla="*/ 333 w 2045"/>
              <a:gd name="T87" fmla="*/ 191 h 3118"/>
              <a:gd name="T88" fmla="*/ 225 w 2045"/>
              <a:gd name="T89" fmla="*/ 308 h 3118"/>
              <a:gd name="T90" fmla="*/ 143 w 2045"/>
              <a:gd name="T91" fmla="*/ 448 h 3118"/>
              <a:gd name="T92" fmla="*/ 96 w 2045"/>
              <a:gd name="T93" fmla="*/ 613 h 3118"/>
              <a:gd name="T94" fmla="*/ 82 w 2045"/>
              <a:gd name="T95" fmla="*/ 788 h 3118"/>
              <a:gd name="T96" fmla="*/ 113 w 2045"/>
              <a:gd name="T97" fmla="*/ 974 h 3118"/>
              <a:gd name="T98" fmla="*/ 185 w 2045"/>
              <a:gd name="T99" fmla="*/ 1135 h 3118"/>
              <a:gd name="T100" fmla="*/ 293 w 2045"/>
              <a:gd name="T101" fmla="*/ 1288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45" h="3118">
                <a:moveTo>
                  <a:pt x="364" y="1368"/>
                </a:moveTo>
                <a:lnTo>
                  <a:pt x="436" y="1438"/>
                </a:lnTo>
                <a:lnTo>
                  <a:pt x="511" y="1497"/>
                </a:lnTo>
                <a:lnTo>
                  <a:pt x="673" y="1617"/>
                </a:lnTo>
                <a:lnTo>
                  <a:pt x="756" y="1694"/>
                </a:lnTo>
                <a:lnTo>
                  <a:pt x="816" y="1772"/>
                </a:lnTo>
                <a:lnTo>
                  <a:pt x="880" y="1891"/>
                </a:lnTo>
                <a:lnTo>
                  <a:pt x="915" y="1987"/>
                </a:lnTo>
                <a:lnTo>
                  <a:pt x="949" y="2086"/>
                </a:lnTo>
                <a:lnTo>
                  <a:pt x="961" y="2178"/>
                </a:lnTo>
                <a:lnTo>
                  <a:pt x="963" y="2268"/>
                </a:lnTo>
                <a:lnTo>
                  <a:pt x="957" y="2346"/>
                </a:lnTo>
                <a:lnTo>
                  <a:pt x="939" y="2454"/>
                </a:lnTo>
                <a:lnTo>
                  <a:pt x="904" y="2555"/>
                </a:lnTo>
                <a:lnTo>
                  <a:pt x="859" y="2644"/>
                </a:lnTo>
                <a:lnTo>
                  <a:pt x="800" y="2740"/>
                </a:lnTo>
                <a:lnTo>
                  <a:pt x="716" y="2837"/>
                </a:lnTo>
                <a:lnTo>
                  <a:pt x="650" y="2904"/>
                </a:lnTo>
                <a:lnTo>
                  <a:pt x="583" y="2956"/>
                </a:lnTo>
                <a:lnTo>
                  <a:pt x="514" y="2997"/>
                </a:lnTo>
                <a:lnTo>
                  <a:pt x="441" y="3029"/>
                </a:lnTo>
                <a:lnTo>
                  <a:pt x="364" y="3053"/>
                </a:lnTo>
                <a:lnTo>
                  <a:pt x="281" y="3064"/>
                </a:lnTo>
                <a:lnTo>
                  <a:pt x="225" y="3069"/>
                </a:lnTo>
                <a:lnTo>
                  <a:pt x="159" y="3071"/>
                </a:lnTo>
                <a:lnTo>
                  <a:pt x="0" y="3059"/>
                </a:lnTo>
                <a:lnTo>
                  <a:pt x="117" y="3087"/>
                </a:lnTo>
                <a:lnTo>
                  <a:pt x="203" y="3101"/>
                </a:lnTo>
                <a:lnTo>
                  <a:pt x="298" y="3113"/>
                </a:lnTo>
                <a:lnTo>
                  <a:pt x="394" y="3118"/>
                </a:lnTo>
                <a:lnTo>
                  <a:pt x="476" y="3118"/>
                </a:lnTo>
                <a:lnTo>
                  <a:pt x="561" y="3113"/>
                </a:lnTo>
                <a:lnTo>
                  <a:pt x="655" y="3104"/>
                </a:lnTo>
                <a:lnTo>
                  <a:pt x="740" y="3088"/>
                </a:lnTo>
                <a:lnTo>
                  <a:pt x="842" y="3064"/>
                </a:lnTo>
                <a:lnTo>
                  <a:pt x="953" y="3033"/>
                </a:lnTo>
                <a:lnTo>
                  <a:pt x="1061" y="2991"/>
                </a:lnTo>
                <a:lnTo>
                  <a:pt x="1146" y="2951"/>
                </a:lnTo>
                <a:lnTo>
                  <a:pt x="1240" y="2902"/>
                </a:lnTo>
                <a:lnTo>
                  <a:pt x="1338" y="2841"/>
                </a:lnTo>
                <a:lnTo>
                  <a:pt x="1409" y="2785"/>
                </a:lnTo>
                <a:lnTo>
                  <a:pt x="1479" y="2728"/>
                </a:lnTo>
                <a:lnTo>
                  <a:pt x="1552" y="2661"/>
                </a:lnTo>
                <a:lnTo>
                  <a:pt x="1618" y="2597"/>
                </a:lnTo>
                <a:lnTo>
                  <a:pt x="1672" y="2531"/>
                </a:lnTo>
                <a:lnTo>
                  <a:pt x="1729" y="2459"/>
                </a:lnTo>
                <a:lnTo>
                  <a:pt x="1779" y="2388"/>
                </a:lnTo>
                <a:lnTo>
                  <a:pt x="1831" y="2310"/>
                </a:lnTo>
                <a:lnTo>
                  <a:pt x="1872" y="2231"/>
                </a:lnTo>
                <a:lnTo>
                  <a:pt x="1911" y="2147"/>
                </a:lnTo>
                <a:lnTo>
                  <a:pt x="1946" y="2059"/>
                </a:lnTo>
                <a:lnTo>
                  <a:pt x="1976" y="1964"/>
                </a:lnTo>
                <a:lnTo>
                  <a:pt x="2003" y="1872"/>
                </a:lnTo>
                <a:lnTo>
                  <a:pt x="2022" y="1778"/>
                </a:lnTo>
                <a:lnTo>
                  <a:pt x="2036" y="1671"/>
                </a:lnTo>
                <a:lnTo>
                  <a:pt x="2042" y="1581"/>
                </a:lnTo>
                <a:lnTo>
                  <a:pt x="2045" y="1492"/>
                </a:lnTo>
                <a:lnTo>
                  <a:pt x="2042" y="1398"/>
                </a:lnTo>
                <a:lnTo>
                  <a:pt x="2029" y="1290"/>
                </a:lnTo>
                <a:lnTo>
                  <a:pt x="2012" y="1178"/>
                </a:lnTo>
                <a:lnTo>
                  <a:pt x="1988" y="1084"/>
                </a:lnTo>
                <a:lnTo>
                  <a:pt x="1962" y="988"/>
                </a:lnTo>
                <a:lnTo>
                  <a:pt x="1932" y="910"/>
                </a:lnTo>
                <a:lnTo>
                  <a:pt x="1892" y="826"/>
                </a:lnTo>
                <a:lnTo>
                  <a:pt x="1857" y="749"/>
                </a:lnTo>
                <a:lnTo>
                  <a:pt x="1807" y="659"/>
                </a:lnTo>
                <a:lnTo>
                  <a:pt x="1749" y="571"/>
                </a:lnTo>
                <a:lnTo>
                  <a:pt x="1690" y="498"/>
                </a:lnTo>
                <a:lnTo>
                  <a:pt x="1634" y="428"/>
                </a:lnTo>
                <a:lnTo>
                  <a:pt x="1570" y="360"/>
                </a:lnTo>
                <a:lnTo>
                  <a:pt x="1505" y="296"/>
                </a:lnTo>
                <a:lnTo>
                  <a:pt x="1449" y="249"/>
                </a:lnTo>
                <a:lnTo>
                  <a:pt x="1377" y="191"/>
                </a:lnTo>
                <a:lnTo>
                  <a:pt x="1301" y="143"/>
                </a:lnTo>
                <a:lnTo>
                  <a:pt x="1240" y="107"/>
                </a:lnTo>
                <a:lnTo>
                  <a:pt x="1176" y="75"/>
                </a:lnTo>
                <a:lnTo>
                  <a:pt x="1116" y="52"/>
                </a:lnTo>
                <a:lnTo>
                  <a:pt x="1057" y="33"/>
                </a:lnTo>
                <a:lnTo>
                  <a:pt x="967" y="12"/>
                </a:lnTo>
                <a:lnTo>
                  <a:pt x="899" y="3"/>
                </a:lnTo>
                <a:lnTo>
                  <a:pt x="829" y="0"/>
                </a:lnTo>
                <a:lnTo>
                  <a:pt x="765" y="3"/>
                </a:lnTo>
                <a:lnTo>
                  <a:pt x="678" y="15"/>
                </a:lnTo>
                <a:lnTo>
                  <a:pt x="594" y="36"/>
                </a:lnTo>
                <a:lnTo>
                  <a:pt x="519" y="66"/>
                </a:lnTo>
                <a:lnTo>
                  <a:pt x="458" y="101"/>
                </a:lnTo>
                <a:lnTo>
                  <a:pt x="388" y="143"/>
                </a:lnTo>
                <a:lnTo>
                  <a:pt x="333" y="191"/>
                </a:lnTo>
                <a:lnTo>
                  <a:pt x="275" y="245"/>
                </a:lnTo>
                <a:lnTo>
                  <a:pt x="225" y="308"/>
                </a:lnTo>
                <a:lnTo>
                  <a:pt x="179" y="376"/>
                </a:lnTo>
                <a:lnTo>
                  <a:pt x="143" y="448"/>
                </a:lnTo>
                <a:lnTo>
                  <a:pt x="117" y="529"/>
                </a:lnTo>
                <a:lnTo>
                  <a:pt x="96" y="613"/>
                </a:lnTo>
                <a:lnTo>
                  <a:pt x="84" y="699"/>
                </a:lnTo>
                <a:lnTo>
                  <a:pt x="82" y="788"/>
                </a:lnTo>
                <a:lnTo>
                  <a:pt x="94" y="888"/>
                </a:lnTo>
                <a:lnTo>
                  <a:pt x="113" y="974"/>
                </a:lnTo>
                <a:lnTo>
                  <a:pt x="147" y="1057"/>
                </a:lnTo>
                <a:lnTo>
                  <a:pt x="185" y="1135"/>
                </a:lnTo>
                <a:lnTo>
                  <a:pt x="233" y="1204"/>
                </a:lnTo>
                <a:lnTo>
                  <a:pt x="293" y="1288"/>
                </a:lnTo>
                <a:lnTo>
                  <a:pt x="364" y="1368"/>
                </a:lnTo>
                <a:close/>
              </a:path>
            </a:pathLst>
          </a:custGeom>
          <a:gradFill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rect">
              <a:fillToRect l="50000" t="50000" r="50000" b="50000"/>
            </a:path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th-TH" sz="3600">
              <a:solidFill>
                <a:srgbClr val="FFFF00"/>
              </a:solidFill>
              <a:latin typeface="AngsanaUPC" pitchFamily="18" charset="-34"/>
              <a:cs typeface="LilyUPC" panose="020B0604020202020204" pitchFamily="34" charset="-34"/>
            </a:endParaRPr>
          </a:p>
        </p:txBody>
      </p:sp>
      <p:sp>
        <p:nvSpPr>
          <p:cNvPr id="54" name="Freeform 12"/>
          <p:cNvSpPr>
            <a:spLocks/>
          </p:cNvSpPr>
          <p:nvPr/>
        </p:nvSpPr>
        <p:spPr bwMode="auto">
          <a:xfrm>
            <a:off x="-1676400" y="2411413"/>
            <a:ext cx="1622425" cy="2474912"/>
          </a:xfrm>
          <a:custGeom>
            <a:avLst/>
            <a:gdLst>
              <a:gd name="T0" fmla="*/ 1609 w 2046"/>
              <a:gd name="T1" fmla="*/ 1681 h 3119"/>
              <a:gd name="T2" fmla="*/ 1372 w 2046"/>
              <a:gd name="T3" fmla="*/ 1502 h 3119"/>
              <a:gd name="T4" fmla="*/ 1229 w 2046"/>
              <a:gd name="T5" fmla="*/ 1347 h 3119"/>
              <a:gd name="T6" fmla="*/ 1130 w 2046"/>
              <a:gd name="T7" fmla="*/ 1131 h 3119"/>
              <a:gd name="T8" fmla="*/ 1085 w 2046"/>
              <a:gd name="T9" fmla="*/ 941 h 3119"/>
              <a:gd name="T10" fmla="*/ 1088 w 2046"/>
              <a:gd name="T11" fmla="*/ 773 h 3119"/>
              <a:gd name="T12" fmla="*/ 1142 w 2046"/>
              <a:gd name="T13" fmla="*/ 564 h 3119"/>
              <a:gd name="T14" fmla="*/ 1245 w 2046"/>
              <a:gd name="T15" fmla="*/ 378 h 3119"/>
              <a:gd name="T16" fmla="*/ 1395 w 2046"/>
              <a:gd name="T17" fmla="*/ 215 h 3119"/>
              <a:gd name="T18" fmla="*/ 1532 w 2046"/>
              <a:gd name="T19" fmla="*/ 122 h 3119"/>
              <a:gd name="T20" fmla="*/ 1682 w 2046"/>
              <a:gd name="T21" fmla="*/ 66 h 3119"/>
              <a:gd name="T22" fmla="*/ 1821 w 2046"/>
              <a:gd name="T23" fmla="*/ 50 h 3119"/>
              <a:gd name="T24" fmla="*/ 2046 w 2046"/>
              <a:gd name="T25" fmla="*/ 60 h 3119"/>
              <a:gd name="T26" fmla="*/ 1842 w 2046"/>
              <a:gd name="T27" fmla="*/ 18 h 3119"/>
              <a:gd name="T28" fmla="*/ 1651 w 2046"/>
              <a:gd name="T29" fmla="*/ 0 h 3119"/>
              <a:gd name="T30" fmla="*/ 1485 w 2046"/>
              <a:gd name="T31" fmla="*/ 6 h 3119"/>
              <a:gd name="T32" fmla="*/ 1306 w 2046"/>
              <a:gd name="T33" fmla="*/ 30 h 3119"/>
              <a:gd name="T34" fmla="*/ 1092 w 2046"/>
              <a:gd name="T35" fmla="*/ 85 h 3119"/>
              <a:gd name="T36" fmla="*/ 900 w 2046"/>
              <a:gd name="T37" fmla="*/ 167 h 3119"/>
              <a:gd name="T38" fmla="*/ 708 w 2046"/>
              <a:gd name="T39" fmla="*/ 277 h 3119"/>
              <a:gd name="T40" fmla="*/ 567 w 2046"/>
              <a:gd name="T41" fmla="*/ 390 h 3119"/>
              <a:gd name="T42" fmla="*/ 428 w 2046"/>
              <a:gd name="T43" fmla="*/ 522 h 3119"/>
              <a:gd name="T44" fmla="*/ 317 w 2046"/>
              <a:gd name="T45" fmla="*/ 660 h 3119"/>
              <a:gd name="T46" fmla="*/ 215 w 2046"/>
              <a:gd name="T47" fmla="*/ 808 h 3119"/>
              <a:gd name="T48" fmla="*/ 135 w 2046"/>
              <a:gd name="T49" fmla="*/ 972 h 3119"/>
              <a:gd name="T50" fmla="*/ 69 w 2046"/>
              <a:gd name="T51" fmla="*/ 1155 h 3119"/>
              <a:gd name="T52" fmla="*/ 24 w 2046"/>
              <a:gd name="T53" fmla="*/ 1340 h 3119"/>
              <a:gd name="T54" fmla="*/ 3 w 2046"/>
              <a:gd name="T55" fmla="*/ 1537 h 3119"/>
              <a:gd name="T56" fmla="*/ 3 w 2046"/>
              <a:gd name="T57" fmla="*/ 1720 h 3119"/>
              <a:gd name="T58" fmla="*/ 34 w 2046"/>
              <a:gd name="T59" fmla="*/ 1940 h 3119"/>
              <a:gd name="T60" fmla="*/ 83 w 2046"/>
              <a:gd name="T61" fmla="*/ 2131 h 3119"/>
              <a:gd name="T62" fmla="*/ 153 w 2046"/>
              <a:gd name="T63" fmla="*/ 2292 h 3119"/>
              <a:gd name="T64" fmla="*/ 238 w 2046"/>
              <a:gd name="T65" fmla="*/ 2459 h 3119"/>
              <a:gd name="T66" fmla="*/ 356 w 2046"/>
              <a:gd name="T67" fmla="*/ 2621 h 3119"/>
              <a:gd name="T68" fmla="*/ 475 w 2046"/>
              <a:gd name="T69" fmla="*/ 2759 h 3119"/>
              <a:gd name="T70" fmla="*/ 597 w 2046"/>
              <a:gd name="T71" fmla="*/ 2870 h 3119"/>
              <a:gd name="T72" fmla="*/ 745 w 2046"/>
              <a:gd name="T73" fmla="*/ 2975 h 3119"/>
              <a:gd name="T74" fmla="*/ 869 w 2046"/>
              <a:gd name="T75" fmla="*/ 3043 h 3119"/>
              <a:gd name="T76" fmla="*/ 989 w 2046"/>
              <a:gd name="T77" fmla="*/ 3085 h 3119"/>
              <a:gd name="T78" fmla="*/ 1146 w 2046"/>
              <a:gd name="T79" fmla="*/ 3115 h 3119"/>
              <a:gd name="T80" fmla="*/ 1281 w 2046"/>
              <a:gd name="T81" fmla="*/ 3115 h 3119"/>
              <a:gd name="T82" fmla="*/ 1451 w 2046"/>
              <a:gd name="T83" fmla="*/ 3083 h 3119"/>
              <a:gd name="T84" fmla="*/ 1588 w 2046"/>
              <a:gd name="T85" fmla="*/ 3017 h 3119"/>
              <a:gd name="T86" fmla="*/ 1713 w 2046"/>
              <a:gd name="T87" fmla="*/ 2928 h 3119"/>
              <a:gd name="T88" fmla="*/ 1821 w 2046"/>
              <a:gd name="T89" fmla="*/ 2811 h 3119"/>
              <a:gd name="T90" fmla="*/ 1902 w 2046"/>
              <a:gd name="T91" fmla="*/ 2671 h 3119"/>
              <a:gd name="T92" fmla="*/ 1950 w 2046"/>
              <a:gd name="T93" fmla="*/ 2506 h 3119"/>
              <a:gd name="T94" fmla="*/ 1964 w 2046"/>
              <a:gd name="T95" fmla="*/ 2330 h 3119"/>
              <a:gd name="T96" fmla="*/ 1933 w 2046"/>
              <a:gd name="T97" fmla="*/ 2145 h 3119"/>
              <a:gd name="T98" fmla="*/ 1860 w 2046"/>
              <a:gd name="T99" fmla="*/ 1983 h 3119"/>
              <a:gd name="T100" fmla="*/ 1753 w 2046"/>
              <a:gd name="T101" fmla="*/ 1830 h 3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46" h="3119">
                <a:moveTo>
                  <a:pt x="1682" y="1751"/>
                </a:moveTo>
                <a:lnTo>
                  <a:pt x="1609" y="1681"/>
                </a:lnTo>
                <a:lnTo>
                  <a:pt x="1534" y="1621"/>
                </a:lnTo>
                <a:lnTo>
                  <a:pt x="1372" y="1502"/>
                </a:lnTo>
                <a:lnTo>
                  <a:pt x="1290" y="1424"/>
                </a:lnTo>
                <a:lnTo>
                  <a:pt x="1229" y="1347"/>
                </a:lnTo>
                <a:lnTo>
                  <a:pt x="1166" y="1227"/>
                </a:lnTo>
                <a:lnTo>
                  <a:pt x="1130" y="1131"/>
                </a:lnTo>
                <a:lnTo>
                  <a:pt x="1097" y="1032"/>
                </a:lnTo>
                <a:lnTo>
                  <a:pt x="1085" y="941"/>
                </a:lnTo>
                <a:lnTo>
                  <a:pt x="1083" y="850"/>
                </a:lnTo>
                <a:lnTo>
                  <a:pt x="1088" y="773"/>
                </a:lnTo>
                <a:lnTo>
                  <a:pt x="1106" y="665"/>
                </a:lnTo>
                <a:lnTo>
                  <a:pt x="1142" y="564"/>
                </a:lnTo>
                <a:lnTo>
                  <a:pt x="1186" y="474"/>
                </a:lnTo>
                <a:lnTo>
                  <a:pt x="1245" y="378"/>
                </a:lnTo>
                <a:lnTo>
                  <a:pt x="1329" y="281"/>
                </a:lnTo>
                <a:lnTo>
                  <a:pt x="1395" y="215"/>
                </a:lnTo>
                <a:lnTo>
                  <a:pt x="1463" y="163"/>
                </a:lnTo>
                <a:lnTo>
                  <a:pt x="1532" y="122"/>
                </a:lnTo>
                <a:lnTo>
                  <a:pt x="1604" y="90"/>
                </a:lnTo>
                <a:lnTo>
                  <a:pt x="1682" y="66"/>
                </a:lnTo>
                <a:lnTo>
                  <a:pt x="1765" y="54"/>
                </a:lnTo>
                <a:lnTo>
                  <a:pt x="1821" y="50"/>
                </a:lnTo>
                <a:lnTo>
                  <a:pt x="1886" y="48"/>
                </a:lnTo>
                <a:lnTo>
                  <a:pt x="2046" y="60"/>
                </a:lnTo>
                <a:lnTo>
                  <a:pt x="1928" y="32"/>
                </a:lnTo>
                <a:lnTo>
                  <a:pt x="1842" y="18"/>
                </a:lnTo>
                <a:lnTo>
                  <a:pt x="1747" y="6"/>
                </a:lnTo>
                <a:lnTo>
                  <a:pt x="1651" y="0"/>
                </a:lnTo>
                <a:lnTo>
                  <a:pt x="1570" y="0"/>
                </a:lnTo>
                <a:lnTo>
                  <a:pt x="1485" y="6"/>
                </a:lnTo>
                <a:lnTo>
                  <a:pt x="1391" y="14"/>
                </a:lnTo>
                <a:lnTo>
                  <a:pt x="1306" y="30"/>
                </a:lnTo>
                <a:lnTo>
                  <a:pt x="1203" y="54"/>
                </a:lnTo>
                <a:lnTo>
                  <a:pt x="1092" y="85"/>
                </a:lnTo>
                <a:lnTo>
                  <a:pt x="985" y="127"/>
                </a:lnTo>
                <a:lnTo>
                  <a:pt x="900" y="167"/>
                </a:lnTo>
                <a:lnTo>
                  <a:pt x="806" y="217"/>
                </a:lnTo>
                <a:lnTo>
                  <a:pt x="708" y="277"/>
                </a:lnTo>
                <a:lnTo>
                  <a:pt x="637" y="333"/>
                </a:lnTo>
                <a:lnTo>
                  <a:pt x="567" y="390"/>
                </a:lnTo>
                <a:lnTo>
                  <a:pt x="494" y="458"/>
                </a:lnTo>
                <a:lnTo>
                  <a:pt x="428" y="522"/>
                </a:lnTo>
                <a:lnTo>
                  <a:pt x="374" y="587"/>
                </a:lnTo>
                <a:lnTo>
                  <a:pt x="317" y="660"/>
                </a:lnTo>
                <a:lnTo>
                  <a:pt x="266" y="731"/>
                </a:lnTo>
                <a:lnTo>
                  <a:pt x="215" y="808"/>
                </a:lnTo>
                <a:lnTo>
                  <a:pt x="174" y="888"/>
                </a:lnTo>
                <a:lnTo>
                  <a:pt x="135" y="972"/>
                </a:lnTo>
                <a:lnTo>
                  <a:pt x="99" y="1059"/>
                </a:lnTo>
                <a:lnTo>
                  <a:pt x="69" y="1155"/>
                </a:lnTo>
                <a:lnTo>
                  <a:pt x="42" y="1247"/>
                </a:lnTo>
                <a:lnTo>
                  <a:pt x="24" y="1340"/>
                </a:lnTo>
                <a:lnTo>
                  <a:pt x="10" y="1448"/>
                </a:lnTo>
                <a:lnTo>
                  <a:pt x="3" y="1537"/>
                </a:lnTo>
                <a:lnTo>
                  <a:pt x="0" y="1627"/>
                </a:lnTo>
                <a:lnTo>
                  <a:pt x="3" y="1720"/>
                </a:lnTo>
                <a:lnTo>
                  <a:pt x="16" y="1828"/>
                </a:lnTo>
                <a:lnTo>
                  <a:pt x="34" y="1940"/>
                </a:lnTo>
                <a:lnTo>
                  <a:pt x="57" y="2035"/>
                </a:lnTo>
                <a:lnTo>
                  <a:pt x="83" y="2131"/>
                </a:lnTo>
                <a:lnTo>
                  <a:pt x="113" y="2208"/>
                </a:lnTo>
                <a:lnTo>
                  <a:pt x="153" y="2292"/>
                </a:lnTo>
                <a:lnTo>
                  <a:pt x="189" y="2370"/>
                </a:lnTo>
                <a:lnTo>
                  <a:pt x="238" y="2459"/>
                </a:lnTo>
                <a:lnTo>
                  <a:pt x="296" y="2548"/>
                </a:lnTo>
                <a:lnTo>
                  <a:pt x="356" y="2621"/>
                </a:lnTo>
                <a:lnTo>
                  <a:pt x="412" y="2691"/>
                </a:lnTo>
                <a:lnTo>
                  <a:pt x="475" y="2759"/>
                </a:lnTo>
                <a:lnTo>
                  <a:pt x="541" y="2822"/>
                </a:lnTo>
                <a:lnTo>
                  <a:pt x="597" y="2870"/>
                </a:lnTo>
                <a:lnTo>
                  <a:pt x="668" y="2928"/>
                </a:lnTo>
                <a:lnTo>
                  <a:pt x="745" y="2975"/>
                </a:lnTo>
                <a:lnTo>
                  <a:pt x="806" y="3012"/>
                </a:lnTo>
                <a:lnTo>
                  <a:pt x="869" y="3043"/>
                </a:lnTo>
                <a:lnTo>
                  <a:pt x="930" y="3067"/>
                </a:lnTo>
                <a:lnTo>
                  <a:pt x="989" y="3085"/>
                </a:lnTo>
                <a:lnTo>
                  <a:pt x="1078" y="3107"/>
                </a:lnTo>
                <a:lnTo>
                  <a:pt x="1146" y="3115"/>
                </a:lnTo>
                <a:lnTo>
                  <a:pt x="1216" y="3119"/>
                </a:lnTo>
                <a:lnTo>
                  <a:pt x="1281" y="3115"/>
                </a:lnTo>
                <a:lnTo>
                  <a:pt x="1367" y="3104"/>
                </a:lnTo>
                <a:lnTo>
                  <a:pt x="1451" y="3083"/>
                </a:lnTo>
                <a:lnTo>
                  <a:pt x="1527" y="3053"/>
                </a:lnTo>
                <a:lnTo>
                  <a:pt x="1588" y="3017"/>
                </a:lnTo>
                <a:lnTo>
                  <a:pt x="1658" y="2975"/>
                </a:lnTo>
                <a:lnTo>
                  <a:pt x="1713" y="2928"/>
                </a:lnTo>
                <a:lnTo>
                  <a:pt x="1771" y="2874"/>
                </a:lnTo>
                <a:lnTo>
                  <a:pt x="1821" y="2811"/>
                </a:lnTo>
                <a:lnTo>
                  <a:pt x="1867" y="2743"/>
                </a:lnTo>
                <a:lnTo>
                  <a:pt x="1902" y="2671"/>
                </a:lnTo>
                <a:lnTo>
                  <a:pt x="1928" y="2590"/>
                </a:lnTo>
                <a:lnTo>
                  <a:pt x="1950" y="2506"/>
                </a:lnTo>
                <a:lnTo>
                  <a:pt x="1962" y="2420"/>
                </a:lnTo>
                <a:lnTo>
                  <a:pt x="1964" y="2330"/>
                </a:lnTo>
                <a:lnTo>
                  <a:pt x="1952" y="2231"/>
                </a:lnTo>
                <a:lnTo>
                  <a:pt x="1933" y="2145"/>
                </a:lnTo>
                <a:lnTo>
                  <a:pt x="1898" y="2062"/>
                </a:lnTo>
                <a:lnTo>
                  <a:pt x="1860" y="1983"/>
                </a:lnTo>
                <a:lnTo>
                  <a:pt x="1813" y="1914"/>
                </a:lnTo>
                <a:lnTo>
                  <a:pt x="1753" y="1830"/>
                </a:lnTo>
                <a:lnTo>
                  <a:pt x="1682" y="1751"/>
                </a:lnTo>
                <a:close/>
              </a:path>
            </a:pathLst>
          </a:custGeom>
          <a:gradFill rotWithShape="1">
            <a:gsLst>
              <a:gs pos="0">
                <a:schemeClr val="bg1">
                  <a:lumMod val="75000"/>
                </a:schemeClr>
              </a:gs>
              <a:gs pos="100000">
                <a:schemeClr val="tx1"/>
              </a:gs>
            </a:gsLst>
            <a:path path="rect">
              <a:fillToRect l="50000" t="50000" r="50000" b="50000"/>
            </a:path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/>
          <a:lstStyle/>
          <a:p>
            <a:pPr algn="ctr">
              <a:defRPr/>
            </a:pPr>
            <a:endParaRPr lang="th-TH" sz="3600" kern="0">
              <a:solidFill>
                <a:srgbClr val="FFFF00"/>
              </a:solidFill>
              <a:latin typeface="AngsanaUPC" pitchFamily="18" charset="-34"/>
              <a:cs typeface="LilyUPC" panose="020B0604020202020204" pitchFamily="34" charset="-34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890542" y="6424035"/>
            <a:ext cx="2123282" cy="433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th-TH" sz="2400" dirty="0">
                <a:solidFill>
                  <a:srgbClr val="000099"/>
                </a:solidFill>
                <a:latin typeface="Angsana News" pitchFamily="18" charset="-34"/>
                <a:cs typeface="AngsanaUPC" pitchFamily="18" charset="-34"/>
              </a:rPr>
              <a:t>ธนิตสรณ์ จิระพรชัย        </a:t>
            </a:r>
            <a:endParaRPr lang="th-TH" sz="2400" i="1" dirty="0">
              <a:solidFill>
                <a:srgbClr val="000099"/>
              </a:solidFill>
              <a:latin typeface="Angsana News" pitchFamily="18" charset="-34"/>
              <a:cs typeface="AngsanaUPC" pitchFamily="18" charset="-34"/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142875" y="1536699"/>
            <a:ext cx="8772526" cy="4841169"/>
          </a:xfrm>
          <a:prstGeom prst="roundRect">
            <a:avLst>
              <a:gd name="adj" fmla="val 7864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th-TH" sz="2800">
              <a:solidFill>
                <a:prstClr val="white"/>
              </a:solidFill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00000">
            <a:off x="3233449" y="2395363"/>
            <a:ext cx="2599964" cy="259996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114433" y="3376146"/>
            <a:ext cx="93968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h-TH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องค์กร</a:t>
            </a:r>
            <a:endParaRPr lang="th-TH" sz="3200" dirty="0">
              <a:solidFill>
                <a:prstClr val="white"/>
              </a:solidFill>
              <a:latin typeface="Arial"/>
              <a:cs typeface="Angsana New" pitchFamily="18" charset="-34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5366741" y="1247775"/>
            <a:ext cx="3227388" cy="554035"/>
          </a:xfrm>
          <a:prstGeom prst="roundRect">
            <a:avLst>
              <a:gd name="adj" fmla="val 36247"/>
            </a:avLst>
          </a:prstGeom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th-TH" sz="2800">
              <a:solidFill>
                <a:prstClr val="white"/>
              </a:solidFill>
            </a:endParaRPr>
          </a:p>
        </p:txBody>
      </p:sp>
      <p:sp>
        <p:nvSpPr>
          <p:cNvPr id="52" name="Rectangle 10"/>
          <p:cNvSpPr>
            <a:spLocks noChangeArrowheads="1"/>
          </p:cNvSpPr>
          <p:nvPr/>
        </p:nvSpPr>
        <p:spPr bwMode="auto">
          <a:xfrm>
            <a:off x="5377060" y="1246186"/>
            <a:ext cx="3227388" cy="454025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/>
          <a:lstStyle/>
          <a:p>
            <a:pPr algn="ctr" eaLnBrk="0" fontAlgn="base" hangingPunct="0">
              <a:lnSpc>
                <a:spcPct val="120000"/>
              </a:lnSpc>
              <a:spcBef>
                <a:spcPct val="40000"/>
              </a:spcBef>
              <a:spcAft>
                <a:spcPct val="0"/>
              </a:spcAft>
            </a:pPr>
            <a:r>
              <a:rPr lang="th-TH" sz="2800" b="1" dirty="0">
                <a:solidFill>
                  <a:prstClr val="white"/>
                </a:solidFill>
                <a:latin typeface="Angsana News" pitchFamily="18" charset="-34"/>
                <a:cs typeface="AngsanaUPC" pitchFamily="18" charset="-34"/>
              </a:rPr>
              <a:t>จุดเริ่มต้นของการพัฒนาองค์กร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4698307" y="1693869"/>
            <a:ext cx="386655" cy="1385831"/>
            <a:chOff x="4658595" y="1755138"/>
            <a:chExt cx="386655" cy="1385831"/>
          </a:xfrm>
        </p:grpSpPr>
        <p:cxnSp>
          <p:nvCxnSpPr>
            <p:cNvPr id="7" name="Straight Connector 6"/>
            <p:cNvCxnSpPr/>
            <p:nvPr/>
          </p:nvCxnSpPr>
          <p:spPr>
            <a:xfrm flipV="1">
              <a:off x="4838700" y="2132856"/>
              <a:ext cx="0" cy="1008113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WordArt 17"/>
            <p:cNvSpPr>
              <a:spLocks noChangeArrowheads="1" noChangeShapeType="1" noTextEdit="1"/>
            </p:cNvSpPr>
            <p:nvPr/>
          </p:nvSpPr>
          <p:spPr bwMode="auto">
            <a:xfrm>
              <a:off x="4658595" y="1755138"/>
              <a:ext cx="386655" cy="396235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Stop">
                <a:avLst>
                  <a:gd name="adj" fmla="val 14286"/>
                </a:avLst>
              </a:prstTxWarp>
              <a:scene3d>
                <a:camera prst="orthographicFront"/>
                <a:lightRig rig="threePt" dir="t"/>
              </a:scene3d>
              <a:sp3d extrusionH="57150" prstMaterial="softEdge">
                <a:bevelT w="38100" h="38100"/>
              </a:sp3d>
            </a:bodyPr>
            <a:lstStyle/>
            <a:p>
              <a:pPr algn="ctr">
                <a:defRPr/>
              </a:pPr>
              <a:r>
                <a:rPr lang="th-TH" sz="2000" b="1" kern="10" dirty="0"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  <a:gradFill rotWithShape="1">
                    <a:gsLst>
                      <a:gs pos="0">
                        <a:srgbClr val="969696"/>
                      </a:gs>
                      <a:gs pos="100000">
                        <a:srgbClr val="969696">
                          <a:gamma/>
                          <a:shade val="0"/>
                          <a:invGamma/>
                        </a:srgbClr>
                      </a:gs>
                    </a:gsLst>
                    <a:path path="rect">
                      <a:fillToRect l="50000" t="50000" r="50000" b="50000"/>
                    </a:path>
                  </a:gradFill>
                  <a:latin typeface="Browallia New"/>
                  <a:cs typeface="Browallia New"/>
                </a:rPr>
                <a:t>คน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999098" y="4305452"/>
            <a:ext cx="463190" cy="1524690"/>
            <a:chOff x="3984959" y="4263035"/>
            <a:chExt cx="463190" cy="1524690"/>
          </a:xfrm>
        </p:grpSpPr>
        <p:cxnSp>
          <p:nvCxnSpPr>
            <p:cNvPr id="30" name="Straight Connector 29"/>
            <p:cNvCxnSpPr/>
            <p:nvPr/>
          </p:nvCxnSpPr>
          <p:spPr>
            <a:xfrm flipV="1">
              <a:off x="4211488" y="4263035"/>
              <a:ext cx="0" cy="1008113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WordArt 20"/>
            <p:cNvSpPr>
              <a:spLocks noChangeArrowheads="1" noChangeShapeType="1" noTextEdit="1"/>
            </p:cNvSpPr>
            <p:nvPr/>
          </p:nvSpPr>
          <p:spPr bwMode="auto">
            <a:xfrm>
              <a:off x="3984959" y="5324535"/>
              <a:ext cx="463190" cy="463190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Stop">
                <a:avLst>
                  <a:gd name="adj" fmla="val 14286"/>
                </a:avLst>
              </a:prstTxWarp>
              <a:scene3d>
                <a:camera prst="orthographicFront"/>
                <a:lightRig rig="threePt" dir="t"/>
              </a:scene3d>
              <a:sp3d extrusionH="57150">
                <a:bevelT w="38100" h="38100"/>
              </a:sp3d>
            </a:bodyPr>
            <a:lstStyle/>
            <a:p>
              <a:pPr algn="ctr">
                <a:defRPr/>
              </a:pPr>
              <a:r>
                <a:rPr lang="th-TH" sz="2000" b="1" kern="10" dirty="0">
                  <a:gradFill rotWithShape="1">
                    <a:gsLst>
                      <a:gs pos="0">
                        <a:srgbClr val="1904E0">
                          <a:gamma/>
                          <a:tint val="32549"/>
                          <a:invGamma/>
                        </a:srgbClr>
                      </a:gs>
                      <a:gs pos="100000">
                        <a:srgbClr val="1904E0"/>
                      </a:gs>
                    </a:gsLst>
                    <a:path path="rect">
                      <a:fillToRect l="50000" t="50000" r="50000" b="50000"/>
                    </a:path>
                  </a:gradFill>
                  <a:latin typeface="Browallia New"/>
                  <a:cs typeface="Browallia New"/>
                </a:rPr>
                <a:t>ระบบ</a:t>
              </a:r>
            </a:p>
          </p:txBody>
        </p:sp>
      </p:grpSp>
      <p:sp>
        <p:nvSpPr>
          <p:cNvPr id="36" name="Rectangle 1"/>
          <p:cNvSpPr>
            <a:spLocks noChangeArrowheads="1"/>
          </p:cNvSpPr>
          <p:nvPr/>
        </p:nvSpPr>
        <p:spPr bwMode="auto">
          <a:xfrm>
            <a:off x="12160" y="0"/>
            <a:ext cx="8973516" cy="79454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h-TH" sz="44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aettenschweiler" pitchFamily="34" charset="0"/>
                <a:cs typeface="AngsanaUPC" pitchFamily="18" charset="-34"/>
              </a:rPr>
              <a:t>แนวคิด ความสัมพันธ์ระหว่างคน ระบบ และองค์กร</a:t>
            </a:r>
          </a:p>
        </p:txBody>
      </p:sp>
    </p:spTree>
    <p:extLst>
      <p:ext uri="{BB962C8B-B14F-4D97-AF65-F5344CB8AC3E}">
        <p14:creationId xmlns:p14="http://schemas.microsoft.com/office/powerpoint/2010/main" val="460346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364 -0.00555 L -0.54983 0.02222 " pathEditMode="relative" rAng="0" ptsTypes="AA">
                                      <p:cBhvr>
                                        <p:cTn id="9" dur="3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674" y="138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8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Rot by="-43200000">
                                      <p:cBhvr>
                                        <p:cTn id="11" dur="5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799 -4.44444E-6 L 0.54566 -4.44444E-6 " pathEditMode="relative" rAng="0" ptsTypes="AA">
                                      <p:cBhvr>
                                        <p:cTn id="16" dur="3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875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8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Rot by="-43200000">
                                      <p:cBhvr>
                                        <p:cTn id="18" dur="5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8" presetClass="emph" presetSubtype="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0" dur="5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000"/>
                            </p:stCondLst>
                            <p:childTnLst>
                              <p:par>
                                <p:cTn id="2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7500"/>
                            </p:stCondLst>
                            <p:childTnLst>
                              <p:par>
                                <p:cTn id="3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0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3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4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55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4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80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05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4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2300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4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55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4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28000"/>
                            </p:stCondLst>
                            <p:childTnLst>
                              <p:par>
                                <p:cTn id="69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30500"/>
                            </p:stCondLst>
                            <p:childTnLst>
                              <p:par>
                                <p:cTn id="73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33000"/>
                            </p:stCondLst>
                            <p:childTnLst>
                              <p:par>
                                <p:cTn id="77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35500"/>
                            </p:stCondLst>
                            <p:childTnLst>
                              <p:par>
                                <p:cTn id="81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5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38000"/>
                            </p:stCondLst>
                            <p:childTnLst>
                              <p:par>
                                <p:cTn id="85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40500"/>
                            </p:stCondLst>
                            <p:childTnLst>
                              <p:par>
                                <p:cTn id="89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43000"/>
                            </p:stCondLst>
                            <p:childTnLst>
                              <p:par>
                                <p:cTn id="93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45500"/>
                            </p:stCondLst>
                            <p:childTnLst>
                              <p:par>
                                <p:cTn id="97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500"/>
                                        <p:tgtEl>
                                          <p:spTgt spid="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build="p" autoUpdateAnimBg="0" advAuto="2000"/>
      <p:bldP spid="49" grpId="0" build="p" autoUpdateAnimBg="0" advAuto="2000"/>
      <p:bldP spid="50" grpId="0" build="p" autoUpdateAnimBg="0" advAuto="2000"/>
      <p:bldP spid="51" grpId="0" build="p" autoUpdateAnimBg="0" advAuto="2000"/>
      <p:bldP spid="53" grpId="0" animBg="1"/>
      <p:bldP spid="53" grpId="1" animBg="1"/>
      <p:bldP spid="53" grpId="2" animBg="1"/>
      <p:bldP spid="54" grpId="0" animBg="1"/>
      <p:bldP spid="54" grpId="1" animBg="1"/>
      <p:bldP spid="54" grpId="2" animBg="1"/>
      <p:bldP spid="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6D83A46-A5C8-4ADC-A7FC-C178C77114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reeform 11"/>
          <p:cNvSpPr>
            <a:spLocks/>
          </p:cNvSpPr>
          <p:nvPr/>
        </p:nvSpPr>
        <p:spPr bwMode="auto">
          <a:xfrm>
            <a:off x="7367588" y="39687"/>
            <a:ext cx="1624012" cy="2474913"/>
          </a:xfrm>
          <a:custGeom>
            <a:avLst/>
            <a:gdLst>
              <a:gd name="T0" fmla="*/ 436 w 2045"/>
              <a:gd name="T1" fmla="*/ 1438 h 3118"/>
              <a:gd name="T2" fmla="*/ 673 w 2045"/>
              <a:gd name="T3" fmla="*/ 1617 h 3118"/>
              <a:gd name="T4" fmla="*/ 816 w 2045"/>
              <a:gd name="T5" fmla="*/ 1772 h 3118"/>
              <a:gd name="T6" fmla="*/ 915 w 2045"/>
              <a:gd name="T7" fmla="*/ 1987 h 3118"/>
              <a:gd name="T8" fmla="*/ 961 w 2045"/>
              <a:gd name="T9" fmla="*/ 2178 h 3118"/>
              <a:gd name="T10" fmla="*/ 957 w 2045"/>
              <a:gd name="T11" fmla="*/ 2346 h 3118"/>
              <a:gd name="T12" fmla="*/ 904 w 2045"/>
              <a:gd name="T13" fmla="*/ 2555 h 3118"/>
              <a:gd name="T14" fmla="*/ 800 w 2045"/>
              <a:gd name="T15" fmla="*/ 2740 h 3118"/>
              <a:gd name="T16" fmla="*/ 650 w 2045"/>
              <a:gd name="T17" fmla="*/ 2904 h 3118"/>
              <a:gd name="T18" fmla="*/ 514 w 2045"/>
              <a:gd name="T19" fmla="*/ 2997 h 3118"/>
              <a:gd name="T20" fmla="*/ 364 w 2045"/>
              <a:gd name="T21" fmla="*/ 3053 h 3118"/>
              <a:gd name="T22" fmla="*/ 225 w 2045"/>
              <a:gd name="T23" fmla="*/ 3069 h 3118"/>
              <a:gd name="T24" fmla="*/ 0 w 2045"/>
              <a:gd name="T25" fmla="*/ 3059 h 3118"/>
              <a:gd name="T26" fmla="*/ 203 w 2045"/>
              <a:gd name="T27" fmla="*/ 3101 h 3118"/>
              <a:gd name="T28" fmla="*/ 394 w 2045"/>
              <a:gd name="T29" fmla="*/ 3118 h 3118"/>
              <a:gd name="T30" fmla="*/ 561 w 2045"/>
              <a:gd name="T31" fmla="*/ 3113 h 3118"/>
              <a:gd name="T32" fmla="*/ 740 w 2045"/>
              <a:gd name="T33" fmla="*/ 3088 h 3118"/>
              <a:gd name="T34" fmla="*/ 953 w 2045"/>
              <a:gd name="T35" fmla="*/ 3033 h 3118"/>
              <a:gd name="T36" fmla="*/ 1146 w 2045"/>
              <a:gd name="T37" fmla="*/ 2951 h 3118"/>
              <a:gd name="T38" fmla="*/ 1338 w 2045"/>
              <a:gd name="T39" fmla="*/ 2841 h 3118"/>
              <a:gd name="T40" fmla="*/ 1479 w 2045"/>
              <a:gd name="T41" fmla="*/ 2728 h 3118"/>
              <a:gd name="T42" fmla="*/ 1618 w 2045"/>
              <a:gd name="T43" fmla="*/ 2597 h 3118"/>
              <a:gd name="T44" fmla="*/ 1729 w 2045"/>
              <a:gd name="T45" fmla="*/ 2459 h 3118"/>
              <a:gd name="T46" fmla="*/ 1831 w 2045"/>
              <a:gd name="T47" fmla="*/ 2310 h 3118"/>
              <a:gd name="T48" fmla="*/ 1911 w 2045"/>
              <a:gd name="T49" fmla="*/ 2147 h 3118"/>
              <a:gd name="T50" fmla="*/ 1976 w 2045"/>
              <a:gd name="T51" fmla="*/ 1964 h 3118"/>
              <a:gd name="T52" fmla="*/ 2022 w 2045"/>
              <a:gd name="T53" fmla="*/ 1778 h 3118"/>
              <a:gd name="T54" fmla="*/ 2042 w 2045"/>
              <a:gd name="T55" fmla="*/ 1581 h 3118"/>
              <a:gd name="T56" fmla="*/ 2042 w 2045"/>
              <a:gd name="T57" fmla="*/ 1398 h 3118"/>
              <a:gd name="T58" fmla="*/ 2012 w 2045"/>
              <a:gd name="T59" fmla="*/ 1178 h 3118"/>
              <a:gd name="T60" fmla="*/ 1962 w 2045"/>
              <a:gd name="T61" fmla="*/ 988 h 3118"/>
              <a:gd name="T62" fmla="*/ 1892 w 2045"/>
              <a:gd name="T63" fmla="*/ 826 h 3118"/>
              <a:gd name="T64" fmla="*/ 1807 w 2045"/>
              <a:gd name="T65" fmla="*/ 659 h 3118"/>
              <a:gd name="T66" fmla="*/ 1690 w 2045"/>
              <a:gd name="T67" fmla="*/ 498 h 3118"/>
              <a:gd name="T68" fmla="*/ 1570 w 2045"/>
              <a:gd name="T69" fmla="*/ 360 h 3118"/>
              <a:gd name="T70" fmla="*/ 1449 w 2045"/>
              <a:gd name="T71" fmla="*/ 249 h 3118"/>
              <a:gd name="T72" fmla="*/ 1301 w 2045"/>
              <a:gd name="T73" fmla="*/ 143 h 3118"/>
              <a:gd name="T74" fmla="*/ 1176 w 2045"/>
              <a:gd name="T75" fmla="*/ 75 h 3118"/>
              <a:gd name="T76" fmla="*/ 1057 w 2045"/>
              <a:gd name="T77" fmla="*/ 33 h 3118"/>
              <a:gd name="T78" fmla="*/ 899 w 2045"/>
              <a:gd name="T79" fmla="*/ 3 h 3118"/>
              <a:gd name="T80" fmla="*/ 765 w 2045"/>
              <a:gd name="T81" fmla="*/ 3 h 3118"/>
              <a:gd name="T82" fmla="*/ 594 w 2045"/>
              <a:gd name="T83" fmla="*/ 36 h 3118"/>
              <a:gd name="T84" fmla="*/ 458 w 2045"/>
              <a:gd name="T85" fmla="*/ 101 h 3118"/>
              <a:gd name="T86" fmla="*/ 333 w 2045"/>
              <a:gd name="T87" fmla="*/ 191 h 3118"/>
              <a:gd name="T88" fmla="*/ 225 w 2045"/>
              <a:gd name="T89" fmla="*/ 308 h 3118"/>
              <a:gd name="T90" fmla="*/ 143 w 2045"/>
              <a:gd name="T91" fmla="*/ 448 h 3118"/>
              <a:gd name="T92" fmla="*/ 96 w 2045"/>
              <a:gd name="T93" fmla="*/ 613 h 3118"/>
              <a:gd name="T94" fmla="*/ 82 w 2045"/>
              <a:gd name="T95" fmla="*/ 788 h 3118"/>
              <a:gd name="T96" fmla="*/ 113 w 2045"/>
              <a:gd name="T97" fmla="*/ 974 h 3118"/>
              <a:gd name="T98" fmla="*/ 185 w 2045"/>
              <a:gd name="T99" fmla="*/ 1135 h 3118"/>
              <a:gd name="T100" fmla="*/ 293 w 2045"/>
              <a:gd name="T101" fmla="*/ 1288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45" h="3118">
                <a:moveTo>
                  <a:pt x="364" y="1368"/>
                </a:moveTo>
                <a:lnTo>
                  <a:pt x="436" y="1438"/>
                </a:lnTo>
                <a:lnTo>
                  <a:pt x="511" y="1497"/>
                </a:lnTo>
                <a:lnTo>
                  <a:pt x="673" y="1617"/>
                </a:lnTo>
                <a:lnTo>
                  <a:pt x="756" y="1694"/>
                </a:lnTo>
                <a:lnTo>
                  <a:pt x="816" y="1772"/>
                </a:lnTo>
                <a:lnTo>
                  <a:pt x="880" y="1891"/>
                </a:lnTo>
                <a:lnTo>
                  <a:pt x="915" y="1987"/>
                </a:lnTo>
                <a:lnTo>
                  <a:pt x="949" y="2086"/>
                </a:lnTo>
                <a:lnTo>
                  <a:pt x="961" y="2178"/>
                </a:lnTo>
                <a:lnTo>
                  <a:pt x="963" y="2268"/>
                </a:lnTo>
                <a:lnTo>
                  <a:pt x="957" y="2346"/>
                </a:lnTo>
                <a:lnTo>
                  <a:pt x="939" y="2454"/>
                </a:lnTo>
                <a:lnTo>
                  <a:pt x="904" y="2555"/>
                </a:lnTo>
                <a:lnTo>
                  <a:pt x="859" y="2644"/>
                </a:lnTo>
                <a:lnTo>
                  <a:pt x="800" y="2740"/>
                </a:lnTo>
                <a:lnTo>
                  <a:pt x="716" y="2837"/>
                </a:lnTo>
                <a:lnTo>
                  <a:pt x="650" y="2904"/>
                </a:lnTo>
                <a:lnTo>
                  <a:pt x="583" y="2956"/>
                </a:lnTo>
                <a:lnTo>
                  <a:pt x="514" y="2997"/>
                </a:lnTo>
                <a:lnTo>
                  <a:pt x="441" y="3029"/>
                </a:lnTo>
                <a:lnTo>
                  <a:pt x="364" y="3053"/>
                </a:lnTo>
                <a:lnTo>
                  <a:pt x="281" y="3064"/>
                </a:lnTo>
                <a:lnTo>
                  <a:pt x="225" y="3069"/>
                </a:lnTo>
                <a:lnTo>
                  <a:pt x="159" y="3071"/>
                </a:lnTo>
                <a:lnTo>
                  <a:pt x="0" y="3059"/>
                </a:lnTo>
                <a:lnTo>
                  <a:pt x="117" y="3087"/>
                </a:lnTo>
                <a:lnTo>
                  <a:pt x="203" y="3101"/>
                </a:lnTo>
                <a:lnTo>
                  <a:pt x="298" y="3113"/>
                </a:lnTo>
                <a:lnTo>
                  <a:pt x="394" y="3118"/>
                </a:lnTo>
                <a:lnTo>
                  <a:pt x="476" y="3118"/>
                </a:lnTo>
                <a:lnTo>
                  <a:pt x="561" y="3113"/>
                </a:lnTo>
                <a:lnTo>
                  <a:pt x="655" y="3104"/>
                </a:lnTo>
                <a:lnTo>
                  <a:pt x="740" y="3088"/>
                </a:lnTo>
                <a:lnTo>
                  <a:pt x="842" y="3064"/>
                </a:lnTo>
                <a:lnTo>
                  <a:pt x="953" y="3033"/>
                </a:lnTo>
                <a:lnTo>
                  <a:pt x="1061" y="2991"/>
                </a:lnTo>
                <a:lnTo>
                  <a:pt x="1146" y="2951"/>
                </a:lnTo>
                <a:lnTo>
                  <a:pt x="1240" y="2902"/>
                </a:lnTo>
                <a:lnTo>
                  <a:pt x="1338" y="2841"/>
                </a:lnTo>
                <a:lnTo>
                  <a:pt x="1409" y="2785"/>
                </a:lnTo>
                <a:lnTo>
                  <a:pt x="1479" y="2728"/>
                </a:lnTo>
                <a:lnTo>
                  <a:pt x="1552" y="2661"/>
                </a:lnTo>
                <a:lnTo>
                  <a:pt x="1618" y="2597"/>
                </a:lnTo>
                <a:lnTo>
                  <a:pt x="1672" y="2531"/>
                </a:lnTo>
                <a:lnTo>
                  <a:pt x="1729" y="2459"/>
                </a:lnTo>
                <a:lnTo>
                  <a:pt x="1779" y="2388"/>
                </a:lnTo>
                <a:lnTo>
                  <a:pt x="1831" y="2310"/>
                </a:lnTo>
                <a:lnTo>
                  <a:pt x="1872" y="2231"/>
                </a:lnTo>
                <a:lnTo>
                  <a:pt x="1911" y="2147"/>
                </a:lnTo>
                <a:lnTo>
                  <a:pt x="1946" y="2059"/>
                </a:lnTo>
                <a:lnTo>
                  <a:pt x="1976" y="1964"/>
                </a:lnTo>
                <a:lnTo>
                  <a:pt x="2003" y="1872"/>
                </a:lnTo>
                <a:lnTo>
                  <a:pt x="2022" y="1778"/>
                </a:lnTo>
                <a:lnTo>
                  <a:pt x="2036" y="1671"/>
                </a:lnTo>
                <a:lnTo>
                  <a:pt x="2042" y="1581"/>
                </a:lnTo>
                <a:lnTo>
                  <a:pt x="2045" y="1492"/>
                </a:lnTo>
                <a:lnTo>
                  <a:pt x="2042" y="1398"/>
                </a:lnTo>
                <a:lnTo>
                  <a:pt x="2029" y="1290"/>
                </a:lnTo>
                <a:lnTo>
                  <a:pt x="2012" y="1178"/>
                </a:lnTo>
                <a:lnTo>
                  <a:pt x="1988" y="1084"/>
                </a:lnTo>
                <a:lnTo>
                  <a:pt x="1962" y="988"/>
                </a:lnTo>
                <a:lnTo>
                  <a:pt x="1932" y="910"/>
                </a:lnTo>
                <a:lnTo>
                  <a:pt x="1892" y="826"/>
                </a:lnTo>
                <a:lnTo>
                  <a:pt x="1857" y="749"/>
                </a:lnTo>
                <a:lnTo>
                  <a:pt x="1807" y="659"/>
                </a:lnTo>
                <a:lnTo>
                  <a:pt x="1749" y="571"/>
                </a:lnTo>
                <a:lnTo>
                  <a:pt x="1690" y="498"/>
                </a:lnTo>
                <a:lnTo>
                  <a:pt x="1634" y="428"/>
                </a:lnTo>
                <a:lnTo>
                  <a:pt x="1570" y="360"/>
                </a:lnTo>
                <a:lnTo>
                  <a:pt x="1505" y="296"/>
                </a:lnTo>
                <a:lnTo>
                  <a:pt x="1449" y="249"/>
                </a:lnTo>
                <a:lnTo>
                  <a:pt x="1377" y="191"/>
                </a:lnTo>
                <a:lnTo>
                  <a:pt x="1301" y="143"/>
                </a:lnTo>
                <a:lnTo>
                  <a:pt x="1240" y="107"/>
                </a:lnTo>
                <a:lnTo>
                  <a:pt x="1176" y="75"/>
                </a:lnTo>
                <a:lnTo>
                  <a:pt x="1116" y="52"/>
                </a:lnTo>
                <a:lnTo>
                  <a:pt x="1057" y="33"/>
                </a:lnTo>
                <a:lnTo>
                  <a:pt x="967" y="12"/>
                </a:lnTo>
                <a:lnTo>
                  <a:pt x="899" y="3"/>
                </a:lnTo>
                <a:lnTo>
                  <a:pt x="829" y="0"/>
                </a:lnTo>
                <a:lnTo>
                  <a:pt x="765" y="3"/>
                </a:lnTo>
                <a:lnTo>
                  <a:pt x="678" y="15"/>
                </a:lnTo>
                <a:lnTo>
                  <a:pt x="594" y="36"/>
                </a:lnTo>
                <a:lnTo>
                  <a:pt x="519" y="66"/>
                </a:lnTo>
                <a:lnTo>
                  <a:pt x="458" y="101"/>
                </a:lnTo>
                <a:lnTo>
                  <a:pt x="388" y="143"/>
                </a:lnTo>
                <a:lnTo>
                  <a:pt x="333" y="191"/>
                </a:lnTo>
                <a:lnTo>
                  <a:pt x="275" y="245"/>
                </a:lnTo>
                <a:lnTo>
                  <a:pt x="225" y="308"/>
                </a:lnTo>
                <a:lnTo>
                  <a:pt x="179" y="376"/>
                </a:lnTo>
                <a:lnTo>
                  <a:pt x="143" y="448"/>
                </a:lnTo>
                <a:lnTo>
                  <a:pt x="117" y="529"/>
                </a:lnTo>
                <a:lnTo>
                  <a:pt x="96" y="613"/>
                </a:lnTo>
                <a:lnTo>
                  <a:pt x="84" y="699"/>
                </a:lnTo>
                <a:lnTo>
                  <a:pt x="82" y="788"/>
                </a:lnTo>
                <a:lnTo>
                  <a:pt x="94" y="888"/>
                </a:lnTo>
                <a:lnTo>
                  <a:pt x="113" y="974"/>
                </a:lnTo>
                <a:lnTo>
                  <a:pt x="147" y="1057"/>
                </a:lnTo>
                <a:lnTo>
                  <a:pt x="185" y="1135"/>
                </a:lnTo>
                <a:lnTo>
                  <a:pt x="233" y="1204"/>
                </a:lnTo>
                <a:lnTo>
                  <a:pt x="293" y="1288"/>
                </a:lnTo>
                <a:lnTo>
                  <a:pt x="364" y="1368"/>
                </a:lnTo>
                <a:close/>
              </a:path>
            </a:pathLst>
          </a:custGeom>
          <a:gradFill rotWithShape="1">
            <a:gsLst>
              <a:gs pos="0">
                <a:schemeClr val="bg1">
                  <a:lumMod val="75000"/>
                </a:schemeClr>
              </a:gs>
              <a:gs pos="100000">
                <a:schemeClr val="bg1"/>
              </a:gs>
            </a:gsLst>
            <a:path path="rect">
              <a:fillToRect l="50000" t="50000" r="50000" b="50000"/>
            </a:path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th-TH" sz="3600">
              <a:solidFill>
                <a:srgbClr val="FFFF00"/>
              </a:solidFill>
              <a:latin typeface="AngsanaUPC" pitchFamily="18" charset="-34"/>
              <a:cs typeface="LilyUPC" panose="020B0604020202020204" pitchFamily="34" charset="-34"/>
            </a:endParaRPr>
          </a:p>
        </p:txBody>
      </p:sp>
      <p:sp>
        <p:nvSpPr>
          <p:cNvPr id="7" name="WordArt 17"/>
          <p:cNvSpPr>
            <a:spLocks noChangeArrowheads="1" noChangeShapeType="1" noTextEdit="1"/>
          </p:cNvSpPr>
          <p:nvPr/>
        </p:nvSpPr>
        <p:spPr bwMode="auto">
          <a:xfrm>
            <a:off x="7924800" y="238836"/>
            <a:ext cx="386655" cy="396235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Stop">
              <a:avLst>
                <a:gd name="adj" fmla="val 14286"/>
              </a:avLst>
            </a:prstTxWarp>
            <a:scene3d>
              <a:camera prst="orthographicFront"/>
              <a:lightRig rig="threePt" dir="t"/>
            </a:scene3d>
            <a:sp3d extrusionH="57150" prstMaterial="softEdge">
              <a:bevelT w="38100" h="38100"/>
            </a:sp3d>
          </a:bodyPr>
          <a:lstStyle/>
          <a:p>
            <a:pPr algn="ctr">
              <a:defRPr/>
            </a:pPr>
            <a:r>
              <a:rPr lang="th-TH" sz="2800" b="1" kern="10" dirty="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gradFill rotWithShape="1">
                  <a:gsLst>
                    <a:gs pos="0">
                      <a:srgbClr val="969696"/>
                    </a:gs>
                    <a:gs pos="100000">
                      <a:srgbClr val="969696">
                        <a:gamma/>
                        <a:shade val="0"/>
                        <a:invGamma/>
                      </a:srgbClr>
                    </a:gs>
                  </a:gsLst>
                  <a:path path="rect">
                    <a:fillToRect l="50000" t="50000" r="50000" b="50000"/>
                  </a:path>
                </a:gradFill>
                <a:latin typeface="Browallia New"/>
                <a:cs typeface="Browallia New"/>
              </a:rPr>
              <a:t>คน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75697" y="53161"/>
            <a:ext cx="8576110" cy="6863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ร้างอนาคตการศึกษาให้ดีอย่างต่อเนื่องและปลูกฝังตั้งแต่เด็กทุกคนทั่วประเทศ</a:t>
            </a: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>
                <a:solidFill>
                  <a:srgbClr val="0070C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วามคิดสร้างสรรค์</a:t>
            </a:r>
            <a:r>
              <a:rPr lang="en-US" sz="2000" b="1" dirty="0">
                <a:solidFill>
                  <a:srgbClr val="0070C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en-US" sz="2000" b="1" dirty="0" smtClean="0">
                <a:solidFill>
                  <a:srgbClr val="0070C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4)</a:t>
            </a:r>
            <a:endParaRPr lang="th-TH" sz="2000" b="1" dirty="0" smtClean="0">
              <a:solidFill>
                <a:srgbClr val="0070C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514350" lvl="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sz="2000" b="1" dirty="0">
                <a:solidFill>
                  <a:srgbClr val="0070C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Systematics Thinking </a:t>
            </a: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 smtClean="0">
                <a:solidFill>
                  <a:srgbClr val="0070C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ปรับ</a:t>
            </a:r>
            <a:r>
              <a:rPr lang="th-TH" sz="2000" b="1" dirty="0">
                <a:solidFill>
                  <a:srgbClr val="0070C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ทัศนคติของคนรุ่นเก่าและรุ่นใหม่ก่อน (บางคนคิดเก่าไป บางคนคิดล้ำไป) </a:t>
            </a: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>
                <a:solidFill>
                  <a:srgbClr val="0070C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ัฒนาแนวคิดไปสู่จุดมุ่งหมายองค์กรอย่างแท้จริง</a:t>
            </a: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ีคุณธรรม จริยธรรม ซื่อสัตย์ </a:t>
            </a:r>
            <a:r>
              <a:rPr lang="en-US" sz="20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17)</a:t>
            </a:r>
            <a:endParaRPr lang="th-TH" sz="2000" b="1" dirty="0">
              <a:solidFill>
                <a:srgbClr val="C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จิตสำนึกรับผิดชอบต่อหน้าที่ ตนเอง สังคม ประเทศ </a:t>
            </a:r>
            <a:r>
              <a:rPr lang="en-US" sz="20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9)</a:t>
            </a:r>
            <a:endParaRPr lang="en-US" sz="2000" b="1" dirty="0">
              <a:solidFill>
                <a:srgbClr val="C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ีระเบียบวินัย เกรงกลัวกฎหมาย</a:t>
            </a:r>
            <a:r>
              <a:rPr lang="en-US" sz="2000" b="1" dirty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en-US" sz="20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8) </a:t>
            </a:r>
            <a:endParaRPr lang="th-TH" sz="2000" b="1" dirty="0">
              <a:solidFill>
                <a:srgbClr val="C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คารพสิทธิของทุกคน ให้เกียรติกัน </a:t>
            </a:r>
            <a:r>
              <a:rPr lang="en-US" sz="2000" b="1" dirty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6)</a:t>
            </a:r>
            <a:endParaRPr lang="th-TH" sz="2000" b="1" dirty="0">
              <a:solidFill>
                <a:srgbClr val="C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ยอมรับความจริง ถอดบทเรียน เพื่อป้องกันข้อผิดพลาด </a:t>
            </a: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ยึดมั่นในสิ่งที่ถูกต้อง มีจิตสำนึกรู้สิ่งที่ถูกผิด</a:t>
            </a:r>
            <a:r>
              <a:rPr lang="en-US" sz="2000" b="1" dirty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(3)</a:t>
            </a: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สียสละ คำนึงถึง</a:t>
            </a:r>
            <a:r>
              <a:rPr lang="th-TH" sz="2000" b="1" dirty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ประโยชน์ส่วนรวมและสาธารณะ</a:t>
            </a:r>
            <a:r>
              <a:rPr lang="en-US" sz="2000" b="1" dirty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(2)</a:t>
            </a:r>
            <a:endParaRPr lang="th-TH" sz="2000" b="1" dirty="0">
              <a:solidFill>
                <a:srgbClr val="C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วามมุ่งมั่น </a:t>
            </a:r>
            <a:r>
              <a:rPr lang="en-US" sz="20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3)</a:t>
            </a:r>
            <a:endParaRPr lang="en-US" sz="2000" b="1" dirty="0">
              <a:solidFill>
                <a:srgbClr val="C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ชื่อมั่นว่าตัวเองพัฒนาได้และสร้างสิ่งใหม่ๆ ได้ </a:t>
            </a: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ักองค์กร</a:t>
            </a:r>
            <a:r>
              <a:rPr lang="en-US" sz="20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th-TH" sz="20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ีเป้าหมายร่วม มีแนวคิดของความเป็นเจ้าของ</a:t>
            </a:r>
            <a:r>
              <a:rPr lang="en-US" sz="20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(3)</a:t>
            </a:r>
            <a:endParaRPr lang="th-TH" sz="2000" b="1" dirty="0" smtClean="0">
              <a:solidFill>
                <a:srgbClr val="C0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sz="2000" b="1" dirty="0" smtClean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Service </a:t>
            </a:r>
            <a:r>
              <a:rPr lang="en-US" sz="2000" b="1" dirty="0">
                <a:solidFill>
                  <a:srgbClr val="C0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Mind </a:t>
            </a: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ู้ทัน และมีความสามารถด้านเทคโนโลยี </a:t>
            </a:r>
            <a:r>
              <a:rPr lang="en-US" sz="20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5)</a:t>
            </a:r>
            <a:endParaRPr lang="th-TH" sz="20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ัฒนาศักยภาพของคนให้เป็นมืออาชีพ</a:t>
            </a:r>
            <a:r>
              <a:rPr lang="en-US" sz="20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th-TH" sz="20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ชี่ยวชาญ มีความรู้ ความสามารถ นำออกมาใช้ได้ </a:t>
            </a:r>
            <a:r>
              <a:rPr lang="en-US" sz="20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</a:t>
            </a:r>
            <a:r>
              <a:rPr lang="en-US" sz="20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5</a:t>
            </a:r>
            <a:r>
              <a:rPr lang="en-US" sz="20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  <a:endParaRPr lang="th-TH" sz="2000" b="1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US" sz="20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Teamwork </a:t>
            </a:r>
            <a:r>
              <a:rPr lang="th-TH" sz="20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ามัคคี </a:t>
            </a:r>
            <a:r>
              <a:rPr lang="en-US" sz="20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3)</a:t>
            </a:r>
            <a:endParaRPr lang="th-TH" sz="20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ร้อม</a:t>
            </a:r>
            <a:r>
              <a:rPr lang="th-TH" sz="20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ับการเปลี่ยนแปลง</a:t>
            </a: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ี </a:t>
            </a:r>
            <a:r>
              <a:rPr lang="en-US" sz="20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R&amp;D </a:t>
            </a:r>
            <a:r>
              <a:rPr lang="th-TH" sz="20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และ นวัตกรรม </a:t>
            </a:r>
            <a:endParaRPr lang="en-US" sz="20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L="514350" indent="-51435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th-TH" sz="20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ีมาตรฐานในการทำงาน</a:t>
            </a:r>
            <a:endParaRPr lang="th-TH" sz="20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449075" y="113768"/>
            <a:ext cx="1475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rgbClr val="0070C0"/>
                </a:solidFill>
              </a:rPr>
              <a:t>Workshop#2</a:t>
            </a:r>
            <a:endParaRPr lang="en-US" u="sng" dirty="0">
              <a:solidFill>
                <a:srgbClr val="0070C0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1600200"/>
            <a:ext cx="811812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-1" y="4953001"/>
            <a:ext cx="914400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 rot="16200000">
            <a:off x="-107183" y="666484"/>
            <a:ext cx="7360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rgbClr val="0070C0"/>
                </a:solidFill>
              </a:rPr>
              <a:t>Head</a:t>
            </a:r>
            <a:endParaRPr lang="en-US" u="sng" dirty="0">
              <a:solidFill>
                <a:srgbClr val="0070C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 rot="16200000">
            <a:off x="-101928" y="3078984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rgbClr val="0070C0"/>
                </a:solidFill>
              </a:rPr>
              <a:t>Heart</a:t>
            </a:r>
            <a:endParaRPr lang="en-US" u="sng" dirty="0">
              <a:solidFill>
                <a:srgbClr val="0070C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 rot="16200000">
            <a:off x="-153224" y="5676196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rgbClr val="0070C0"/>
                </a:solidFill>
              </a:rPr>
              <a:t>Hands</a:t>
            </a:r>
            <a:endParaRPr lang="en-US" u="sng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463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364 -0.00555 L -0.54983 0.02222 " pathEditMode="relative" rAng="0" ptsTypes="AA">
                                      <p:cBhvr>
                                        <p:cTn id="9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674" y="138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8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Rot by="-43200000">
                                      <p:cBhvr>
                                        <p:cTn id="11" dur="5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4" grpId="2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6D83A46-A5C8-4ADC-A7FC-C178C77114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reeform 12"/>
          <p:cNvSpPr>
            <a:spLocks/>
          </p:cNvSpPr>
          <p:nvPr/>
        </p:nvSpPr>
        <p:spPr bwMode="auto">
          <a:xfrm>
            <a:off x="7391400" y="76503"/>
            <a:ext cx="1622425" cy="2474912"/>
          </a:xfrm>
          <a:custGeom>
            <a:avLst/>
            <a:gdLst>
              <a:gd name="T0" fmla="*/ 1609 w 2046"/>
              <a:gd name="T1" fmla="*/ 1681 h 3119"/>
              <a:gd name="T2" fmla="*/ 1372 w 2046"/>
              <a:gd name="T3" fmla="*/ 1502 h 3119"/>
              <a:gd name="T4" fmla="*/ 1229 w 2046"/>
              <a:gd name="T5" fmla="*/ 1347 h 3119"/>
              <a:gd name="T6" fmla="*/ 1130 w 2046"/>
              <a:gd name="T7" fmla="*/ 1131 h 3119"/>
              <a:gd name="T8" fmla="*/ 1085 w 2046"/>
              <a:gd name="T9" fmla="*/ 941 h 3119"/>
              <a:gd name="T10" fmla="*/ 1088 w 2046"/>
              <a:gd name="T11" fmla="*/ 773 h 3119"/>
              <a:gd name="T12" fmla="*/ 1142 w 2046"/>
              <a:gd name="T13" fmla="*/ 564 h 3119"/>
              <a:gd name="T14" fmla="*/ 1245 w 2046"/>
              <a:gd name="T15" fmla="*/ 378 h 3119"/>
              <a:gd name="T16" fmla="*/ 1395 w 2046"/>
              <a:gd name="T17" fmla="*/ 215 h 3119"/>
              <a:gd name="T18" fmla="*/ 1532 w 2046"/>
              <a:gd name="T19" fmla="*/ 122 h 3119"/>
              <a:gd name="T20" fmla="*/ 1682 w 2046"/>
              <a:gd name="T21" fmla="*/ 66 h 3119"/>
              <a:gd name="T22" fmla="*/ 1821 w 2046"/>
              <a:gd name="T23" fmla="*/ 50 h 3119"/>
              <a:gd name="T24" fmla="*/ 2046 w 2046"/>
              <a:gd name="T25" fmla="*/ 60 h 3119"/>
              <a:gd name="T26" fmla="*/ 1842 w 2046"/>
              <a:gd name="T27" fmla="*/ 18 h 3119"/>
              <a:gd name="T28" fmla="*/ 1651 w 2046"/>
              <a:gd name="T29" fmla="*/ 0 h 3119"/>
              <a:gd name="T30" fmla="*/ 1485 w 2046"/>
              <a:gd name="T31" fmla="*/ 6 h 3119"/>
              <a:gd name="T32" fmla="*/ 1306 w 2046"/>
              <a:gd name="T33" fmla="*/ 30 h 3119"/>
              <a:gd name="T34" fmla="*/ 1092 w 2046"/>
              <a:gd name="T35" fmla="*/ 85 h 3119"/>
              <a:gd name="T36" fmla="*/ 900 w 2046"/>
              <a:gd name="T37" fmla="*/ 167 h 3119"/>
              <a:gd name="T38" fmla="*/ 708 w 2046"/>
              <a:gd name="T39" fmla="*/ 277 h 3119"/>
              <a:gd name="T40" fmla="*/ 567 w 2046"/>
              <a:gd name="T41" fmla="*/ 390 h 3119"/>
              <a:gd name="T42" fmla="*/ 428 w 2046"/>
              <a:gd name="T43" fmla="*/ 522 h 3119"/>
              <a:gd name="T44" fmla="*/ 317 w 2046"/>
              <a:gd name="T45" fmla="*/ 660 h 3119"/>
              <a:gd name="T46" fmla="*/ 215 w 2046"/>
              <a:gd name="T47" fmla="*/ 808 h 3119"/>
              <a:gd name="T48" fmla="*/ 135 w 2046"/>
              <a:gd name="T49" fmla="*/ 972 h 3119"/>
              <a:gd name="T50" fmla="*/ 69 w 2046"/>
              <a:gd name="T51" fmla="*/ 1155 h 3119"/>
              <a:gd name="T52" fmla="*/ 24 w 2046"/>
              <a:gd name="T53" fmla="*/ 1340 h 3119"/>
              <a:gd name="T54" fmla="*/ 3 w 2046"/>
              <a:gd name="T55" fmla="*/ 1537 h 3119"/>
              <a:gd name="T56" fmla="*/ 3 w 2046"/>
              <a:gd name="T57" fmla="*/ 1720 h 3119"/>
              <a:gd name="T58" fmla="*/ 34 w 2046"/>
              <a:gd name="T59" fmla="*/ 1940 h 3119"/>
              <a:gd name="T60" fmla="*/ 83 w 2046"/>
              <a:gd name="T61" fmla="*/ 2131 h 3119"/>
              <a:gd name="T62" fmla="*/ 153 w 2046"/>
              <a:gd name="T63" fmla="*/ 2292 h 3119"/>
              <a:gd name="T64" fmla="*/ 238 w 2046"/>
              <a:gd name="T65" fmla="*/ 2459 h 3119"/>
              <a:gd name="T66" fmla="*/ 356 w 2046"/>
              <a:gd name="T67" fmla="*/ 2621 h 3119"/>
              <a:gd name="T68" fmla="*/ 475 w 2046"/>
              <a:gd name="T69" fmla="*/ 2759 h 3119"/>
              <a:gd name="T70" fmla="*/ 597 w 2046"/>
              <a:gd name="T71" fmla="*/ 2870 h 3119"/>
              <a:gd name="T72" fmla="*/ 745 w 2046"/>
              <a:gd name="T73" fmla="*/ 2975 h 3119"/>
              <a:gd name="T74" fmla="*/ 869 w 2046"/>
              <a:gd name="T75" fmla="*/ 3043 h 3119"/>
              <a:gd name="T76" fmla="*/ 989 w 2046"/>
              <a:gd name="T77" fmla="*/ 3085 h 3119"/>
              <a:gd name="T78" fmla="*/ 1146 w 2046"/>
              <a:gd name="T79" fmla="*/ 3115 h 3119"/>
              <a:gd name="T80" fmla="*/ 1281 w 2046"/>
              <a:gd name="T81" fmla="*/ 3115 h 3119"/>
              <a:gd name="T82" fmla="*/ 1451 w 2046"/>
              <a:gd name="T83" fmla="*/ 3083 h 3119"/>
              <a:gd name="T84" fmla="*/ 1588 w 2046"/>
              <a:gd name="T85" fmla="*/ 3017 h 3119"/>
              <a:gd name="T86" fmla="*/ 1713 w 2046"/>
              <a:gd name="T87" fmla="*/ 2928 h 3119"/>
              <a:gd name="T88" fmla="*/ 1821 w 2046"/>
              <a:gd name="T89" fmla="*/ 2811 h 3119"/>
              <a:gd name="T90" fmla="*/ 1902 w 2046"/>
              <a:gd name="T91" fmla="*/ 2671 h 3119"/>
              <a:gd name="T92" fmla="*/ 1950 w 2046"/>
              <a:gd name="T93" fmla="*/ 2506 h 3119"/>
              <a:gd name="T94" fmla="*/ 1964 w 2046"/>
              <a:gd name="T95" fmla="*/ 2330 h 3119"/>
              <a:gd name="T96" fmla="*/ 1933 w 2046"/>
              <a:gd name="T97" fmla="*/ 2145 h 3119"/>
              <a:gd name="T98" fmla="*/ 1860 w 2046"/>
              <a:gd name="T99" fmla="*/ 1983 h 3119"/>
              <a:gd name="T100" fmla="*/ 1753 w 2046"/>
              <a:gd name="T101" fmla="*/ 1830 h 3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46" h="3119">
                <a:moveTo>
                  <a:pt x="1682" y="1751"/>
                </a:moveTo>
                <a:lnTo>
                  <a:pt x="1609" y="1681"/>
                </a:lnTo>
                <a:lnTo>
                  <a:pt x="1534" y="1621"/>
                </a:lnTo>
                <a:lnTo>
                  <a:pt x="1372" y="1502"/>
                </a:lnTo>
                <a:lnTo>
                  <a:pt x="1290" y="1424"/>
                </a:lnTo>
                <a:lnTo>
                  <a:pt x="1229" y="1347"/>
                </a:lnTo>
                <a:lnTo>
                  <a:pt x="1166" y="1227"/>
                </a:lnTo>
                <a:lnTo>
                  <a:pt x="1130" y="1131"/>
                </a:lnTo>
                <a:lnTo>
                  <a:pt x="1097" y="1032"/>
                </a:lnTo>
                <a:lnTo>
                  <a:pt x="1085" y="941"/>
                </a:lnTo>
                <a:lnTo>
                  <a:pt x="1083" y="850"/>
                </a:lnTo>
                <a:lnTo>
                  <a:pt x="1088" y="773"/>
                </a:lnTo>
                <a:lnTo>
                  <a:pt x="1106" y="665"/>
                </a:lnTo>
                <a:lnTo>
                  <a:pt x="1142" y="564"/>
                </a:lnTo>
                <a:lnTo>
                  <a:pt x="1186" y="474"/>
                </a:lnTo>
                <a:lnTo>
                  <a:pt x="1245" y="378"/>
                </a:lnTo>
                <a:lnTo>
                  <a:pt x="1329" y="281"/>
                </a:lnTo>
                <a:lnTo>
                  <a:pt x="1395" y="215"/>
                </a:lnTo>
                <a:lnTo>
                  <a:pt x="1463" y="163"/>
                </a:lnTo>
                <a:lnTo>
                  <a:pt x="1532" y="122"/>
                </a:lnTo>
                <a:lnTo>
                  <a:pt x="1604" y="90"/>
                </a:lnTo>
                <a:lnTo>
                  <a:pt x="1682" y="66"/>
                </a:lnTo>
                <a:lnTo>
                  <a:pt x="1765" y="54"/>
                </a:lnTo>
                <a:lnTo>
                  <a:pt x="1821" y="50"/>
                </a:lnTo>
                <a:lnTo>
                  <a:pt x="1886" y="48"/>
                </a:lnTo>
                <a:lnTo>
                  <a:pt x="2046" y="60"/>
                </a:lnTo>
                <a:lnTo>
                  <a:pt x="1928" y="32"/>
                </a:lnTo>
                <a:lnTo>
                  <a:pt x="1842" y="18"/>
                </a:lnTo>
                <a:lnTo>
                  <a:pt x="1747" y="6"/>
                </a:lnTo>
                <a:lnTo>
                  <a:pt x="1651" y="0"/>
                </a:lnTo>
                <a:lnTo>
                  <a:pt x="1570" y="0"/>
                </a:lnTo>
                <a:lnTo>
                  <a:pt x="1485" y="6"/>
                </a:lnTo>
                <a:lnTo>
                  <a:pt x="1391" y="14"/>
                </a:lnTo>
                <a:lnTo>
                  <a:pt x="1306" y="30"/>
                </a:lnTo>
                <a:lnTo>
                  <a:pt x="1203" y="54"/>
                </a:lnTo>
                <a:lnTo>
                  <a:pt x="1092" y="85"/>
                </a:lnTo>
                <a:lnTo>
                  <a:pt x="985" y="127"/>
                </a:lnTo>
                <a:lnTo>
                  <a:pt x="900" y="167"/>
                </a:lnTo>
                <a:lnTo>
                  <a:pt x="806" y="217"/>
                </a:lnTo>
                <a:lnTo>
                  <a:pt x="708" y="277"/>
                </a:lnTo>
                <a:lnTo>
                  <a:pt x="637" y="333"/>
                </a:lnTo>
                <a:lnTo>
                  <a:pt x="567" y="390"/>
                </a:lnTo>
                <a:lnTo>
                  <a:pt x="494" y="458"/>
                </a:lnTo>
                <a:lnTo>
                  <a:pt x="428" y="522"/>
                </a:lnTo>
                <a:lnTo>
                  <a:pt x="374" y="587"/>
                </a:lnTo>
                <a:lnTo>
                  <a:pt x="317" y="660"/>
                </a:lnTo>
                <a:lnTo>
                  <a:pt x="266" y="731"/>
                </a:lnTo>
                <a:lnTo>
                  <a:pt x="215" y="808"/>
                </a:lnTo>
                <a:lnTo>
                  <a:pt x="174" y="888"/>
                </a:lnTo>
                <a:lnTo>
                  <a:pt x="135" y="972"/>
                </a:lnTo>
                <a:lnTo>
                  <a:pt x="99" y="1059"/>
                </a:lnTo>
                <a:lnTo>
                  <a:pt x="69" y="1155"/>
                </a:lnTo>
                <a:lnTo>
                  <a:pt x="42" y="1247"/>
                </a:lnTo>
                <a:lnTo>
                  <a:pt x="24" y="1340"/>
                </a:lnTo>
                <a:lnTo>
                  <a:pt x="10" y="1448"/>
                </a:lnTo>
                <a:lnTo>
                  <a:pt x="3" y="1537"/>
                </a:lnTo>
                <a:lnTo>
                  <a:pt x="0" y="1627"/>
                </a:lnTo>
                <a:lnTo>
                  <a:pt x="3" y="1720"/>
                </a:lnTo>
                <a:lnTo>
                  <a:pt x="16" y="1828"/>
                </a:lnTo>
                <a:lnTo>
                  <a:pt x="34" y="1940"/>
                </a:lnTo>
                <a:lnTo>
                  <a:pt x="57" y="2035"/>
                </a:lnTo>
                <a:lnTo>
                  <a:pt x="83" y="2131"/>
                </a:lnTo>
                <a:lnTo>
                  <a:pt x="113" y="2208"/>
                </a:lnTo>
                <a:lnTo>
                  <a:pt x="153" y="2292"/>
                </a:lnTo>
                <a:lnTo>
                  <a:pt x="189" y="2370"/>
                </a:lnTo>
                <a:lnTo>
                  <a:pt x="238" y="2459"/>
                </a:lnTo>
                <a:lnTo>
                  <a:pt x="296" y="2548"/>
                </a:lnTo>
                <a:lnTo>
                  <a:pt x="356" y="2621"/>
                </a:lnTo>
                <a:lnTo>
                  <a:pt x="412" y="2691"/>
                </a:lnTo>
                <a:lnTo>
                  <a:pt x="475" y="2759"/>
                </a:lnTo>
                <a:lnTo>
                  <a:pt x="541" y="2822"/>
                </a:lnTo>
                <a:lnTo>
                  <a:pt x="597" y="2870"/>
                </a:lnTo>
                <a:lnTo>
                  <a:pt x="668" y="2928"/>
                </a:lnTo>
                <a:lnTo>
                  <a:pt x="745" y="2975"/>
                </a:lnTo>
                <a:lnTo>
                  <a:pt x="806" y="3012"/>
                </a:lnTo>
                <a:lnTo>
                  <a:pt x="869" y="3043"/>
                </a:lnTo>
                <a:lnTo>
                  <a:pt x="930" y="3067"/>
                </a:lnTo>
                <a:lnTo>
                  <a:pt x="989" y="3085"/>
                </a:lnTo>
                <a:lnTo>
                  <a:pt x="1078" y="3107"/>
                </a:lnTo>
                <a:lnTo>
                  <a:pt x="1146" y="3115"/>
                </a:lnTo>
                <a:lnTo>
                  <a:pt x="1216" y="3119"/>
                </a:lnTo>
                <a:lnTo>
                  <a:pt x="1281" y="3115"/>
                </a:lnTo>
                <a:lnTo>
                  <a:pt x="1367" y="3104"/>
                </a:lnTo>
                <a:lnTo>
                  <a:pt x="1451" y="3083"/>
                </a:lnTo>
                <a:lnTo>
                  <a:pt x="1527" y="3053"/>
                </a:lnTo>
                <a:lnTo>
                  <a:pt x="1588" y="3017"/>
                </a:lnTo>
                <a:lnTo>
                  <a:pt x="1658" y="2975"/>
                </a:lnTo>
                <a:lnTo>
                  <a:pt x="1713" y="2928"/>
                </a:lnTo>
                <a:lnTo>
                  <a:pt x="1771" y="2874"/>
                </a:lnTo>
                <a:lnTo>
                  <a:pt x="1821" y="2811"/>
                </a:lnTo>
                <a:lnTo>
                  <a:pt x="1867" y="2743"/>
                </a:lnTo>
                <a:lnTo>
                  <a:pt x="1902" y="2671"/>
                </a:lnTo>
                <a:lnTo>
                  <a:pt x="1928" y="2590"/>
                </a:lnTo>
                <a:lnTo>
                  <a:pt x="1950" y="2506"/>
                </a:lnTo>
                <a:lnTo>
                  <a:pt x="1962" y="2420"/>
                </a:lnTo>
                <a:lnTo>
                  <a:pt x="1964" y="2330"/>
                </a:lnTo>
                <a:lnTo>
                  <a:pt x="1952" y="2231"/>
                </a:lnTo>
                <a:lnTo>
                  <a:pt x="1933" y="2145"/>
                </a:lnTo>
                <a:lnTo>
                  <a:pt x="1898" y="2062"/>
                </a:lnTo>
                <a:lnTo>
                  <a:pt x="1860" y="1983"/>
                </a:lnTo>
                <a:lnTo>
                  <a:pt x="1813" y="1914"/>
                </a:lnTo>
                <a:lnTo>
                  <a:pt x="1753" y="1830"/>
                </a:lnTo>
                <a:lnTo>
                  <a:pt x="1682" y="1751"/>
                </a:lnTo>
                <a:close/>
              </a:path>
            </a:pathLst>
          </a:custGeom>
          <a:gradFill rotWithShape="1">
            <a:gsLst>
              <a:gs pos="0">
                <a:schemeClr val="bg1">
                  <a:lumMod val="75000"/>
                </a:schemeClr>
              </a:gs>
              <a:gs pos="100000">
                <a:schemeClr val="tx1"/>
              </a:gs>
            </a:gsLst>
            <a:path path="rect">
              <a:fillToRect l="50000" t="50000" r="50000" b="50000"/>
            </a:path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/>
          <a:lstStyle/>
          <a:p>
            <a:pPr algn="ctr">
              <a:defRPr/>
            </a:pPr>
            <a:endParaRPr lang="th-TH" sz="3600" kern="0">
              <a:solidFill>
                <a:srgbClr val="FFFF00"/>
              </a:solidFill>
              <a:latin typeface="AngsanaUPC" pitchFamily="18" charset="-34"/>
              <a:cs typeface="LilyUPC" panose="020B0604020202020204" pitchFamily="34" charset="-34"/>
            </a:endParaRPr>
          </a:p>
        </p:txBody>
      </p:sp>
      <p:sp>
        <p:nvSpPr>
          <p:cNvPr id="6" name="WordArt 20"/>
          <p:cNvSpPr>
            <a:spLocks noChangeArrowheads="1" noChangeShapeType="1" noTextEdit="1"/>
          </p:cNvSpPr>
          <p:nvPr/>
        </p:nvSpPr>
        <p:spPr bwMode="auto">
          <a:xfrm>
            <a:off x="7971017" y="1560815"/>
            <a:ext cx="463190" cy="46319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Stop">
              <a:avLst>
                <a:gd name="adj" fmla="val 14286"/>
              </a:avLst>
            </a:prstTxWarp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>
              <a:defRPr/>
            </a:pPr>
            <a:r>
              <a:rPr lang="th-TH" sz="2000" b="1" kern="10" dirty="0">
                <a:gradFill rotWithShape="1">
                  <a:gsLst>
                    <a:gs pos="0">
                      <a:srgbClr val="1904E0">
                        <a:gamma/>
                        <a:tint val="32549"/>
                        <a:invGamma/>
                      </a:srgbClr>
                    </a:gs>
                    <a:gs pos="100000">
                      <a:srgbClr val="1904E0"/>
                    </a:gs>
                  </a:gsLst>
                  <a:path path="rect">
                    <a:fillToRect l="50000" t="50000" r="50000" b="50000"/>
                  </a:path>
                </a:gradFill>
                <a:latin typeface="Browallia New"/>
                <a:cs typeface="Browallia New"/>
              </a:rPr>
              <a:t>ระบบ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11227" y="289257"/>
            <a:ext cx="8802598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4000" b="1" u="sng" dirty="0" smtClean="0">
                <a:solidFill>
                  <a:srgbClr val="0070C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บบการบริหารจัดการ การพัฒนากระบวนงาน </a:t>
            </a:r>
            <a:endParaRPr lang="th-TH" sz="4000" b="1" u="sng" dirty="0" smtClean="0">
              <a:solidFill>
                <a:srgbClr val="0070C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4000" b="1" u="sng" dirty="0" smtClean="0">
                <a:solidFill>
                  <a:srgbClr val="0070C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และ</a:t>
            </a:r>
            <a:r>
              <a:rPr lang="th-TH" sz="4000" b="1" u="sng" dirty="0" smtClean="0">
                <a:solidFill>
                  <a:srgbClr val="0070C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พัฒนาองค์กร</a:t>
            </a:r>
            <a:endParaRPr lang="th-TH" sz="3200" b="1" u="sng" dirty="0" smtClean="0">
              <a:solidFill>
                <a:srgbClr val="0070C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. ความ</a:t>
            </a:r>
            <a:r>
              <a:rPr lang="th-TH" sz="36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ยืดหยุ่นของภารกิจ</a:t>
            </a:r>
            <a:endParaRPr lang="en-US" sz="36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. ระบบ</a:t>
            </a:r>
            <a:r>
              <a:rPr lang="th-TH" sz="36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ูรณาการ กิจการต่างๆ มีการเกื้อหนุนกัน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3. การ</a:t>
            </a:r>
            <a:r>
              <a:rPr lang="th-TH" sz="36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ริหารงานที่เป็นระบบ มีความยืดหยุ่นในการทำงาน </a:t>
            </a:r>
            <a:r>
              <a:rPr lang="en-US" sz="36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2</a:t>
            </a:r>
            <a:r>
              <a:rPr lang="en-US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  <a:endParaRPr lang="th-TH" sz="3600" b="1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4. มี</a:t>
            </a:r>
            <a:r>
              <a:rPr lang="th-TH" sz="36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วามสอดคล้องและต่อเนื่องทั้งองค์กร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5. ใช้</a:t>
            </a:r>
            <a:r>
              <a:rPr lang="th-TH" sz="36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บบสหกรณ์ให้มาก</a:t>
            </a: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ขึ้น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6. การศึกษา</a:t>
            </a:r>
            <a:r>
              <a:rPr lang="th-TH" sz="36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ที่สอดรับกับ </a:t>
            </a:r>
            <a:r>
              <a:rPr lang="en-US" sz="36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hange on Demand (2)</a:t>
            </a:r>
            <a:endParaRPr lang="th-TH" sz="36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7. โครงสร้าง</a:t>
            </a: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าชการ</a:t>
            </a:r>
            <a:r>
              <a:rPr lang="en-US" sz="36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en-US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/ </a:t>
            </a: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ลไกภาครัฐ</a:t>
            </a:r>
            <a:r>
              <a:rPr lang="en-US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/ ส่งเสริมการกระจายอำนาจ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8. ปรับ</a:t>
            </a:r>
            <a:r>
              <a:rPr lang="th-TH" sz="36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ระบวนการทำงาน ลดขั้นตอนการทำงาน และชัดเจน </a:t>
            </a:r>
            <a:r>
              <a:rPr lang="en-US" sz="36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5</a:t>
            </a:r>
            <a:r>
              <a:rPr lang="en-US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  <a:endParaRPr lang="th-TH" sz="36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724400" y="104591"/>
            <a:ext cx="1475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rgbClr val="0070C0"/>
                </a:solidFill>
              </a:rPr>
              <a:t>Workshop#2</a:t>
            </a:r>
            <a:endParaRPr lang="en-US" u="sng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893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799 -4.44444E-6 L 0.54566 -4.44444E-6 " pathEditMode="relative" rAng="0" ptsTypes="AA">
                                      <p:cBhvr>
                                        <p:cTn id="9" dur="3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875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8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Rot by="-43200000">
                                      <p:cBhvr>
                                        <p:cTn id="11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5" grpId="2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6D83A46-A5C8-4ADC-A7FC-C178C77114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reeform 12"/>
          <p:cNvSpPr>
            <a:spLocks/>
          </p:cNvSpPr>
          <p:nvPr/>
        </p:nvSpPr>
        <p:spPr bwMode="auto">
          <a:xfrm>
            <a:off x="7391400" y="76503"/>
            <a:ext cx="1622425" cy="2474912"/>
          </a:xfrm>
          <a:custGeom>
            <a:avLst/>
            <a:gdLst>
              <a:gd name="T0" fmla="*/ 1609 w 2046"/>
              <a:gd name="T1" fmla="*/ 1681 h 3119"/>
              <a:gd name="T2" fmla="*/ 1372 w 2046"/>
              <a:gd name="T3" fmla="*/ 1502 h 3119"/>
              <a:gd name="T4" fmla="*/ 1229 w 2046"/>
              <a:gd name="T5" fmla="*/ 1347 h 3119"/>
              <a:gd name="T6" fmla="*/ 1130 w 2046"/>
              <a:gd name="T7" fmla="*/ 1131 h 3119"/>
              <a:gd name="T8" fmla="*/ 1085 w 2046"/>
              <a:gd name="T9" fmla="*/ 941 h 3119"/>
              <a:gd name="T10" fmla="*/ 1088 w 2046"/>
              <a:gd name="T11" fmla="*/ 773 h 3119"/>
              <a:gd name="T12" fmla="*/ 1142 w 2046"/>
              <a:gd name="T13" fmla="*/ 564 h 3119"/>
              <a:gd name="T14" fmla="*/ 1245 w 2046"/>
              <a:gd name="T15" fmla="*/ 378 h 3119"/>
              <a:gd name="T16" fmla="*/ 1395 w 2046"/>
              <a:gd name="T17" fmla="*/ 215 h 3119"/>
              <a:gd name="T18" fmla="*/ 1532 w 2046"/>
              <a:gd name="T19" fmla="*/ 122 h 3119"/>
              <a:gd name="T20" fmla="*/ 1682 w 2046"/>
              <a:gd name="T21" fmla="*/ 66 h 3119"/>
              <a:gd name="T22" fmla="*/ 1821 w 2046"/>
              <a:gd name="T23" fmla="*/ 50 h 3119"/>
              <a:gd name="T24" fmla="*/ 2046 w 2046"/>
              <a:gd name="T25" fmla="*/ 60 h 3119"/>
              <a:gd name="T26" fmla="*/ 1842 w 2046"/>
              <a:gd name="T27" fmla="*/ 18 h 3119"/>
              <a:gd name="T28" fmla="*/ 1651 w 2046"/>
              <a:gd name="T29" fmla="*/ 0 h 3119"/>
              <a:gd name="T30" fmla="*/ 1485 w 2046"/>
              <a:gd name="T31" fmla="*/ 6 h 3119"/>
              <a:gd name="T32" fmla="*/ 1306 w 2046"/>
              <a:gd name="T33" fmla="*/ 30 h 3119"/>
              <a:gd name="T34" fmla="*/ 1092 w 2046"/>
              <a:gd name="T35" fmla="*/ 85 h 3119"/>
              <a:gd name="T36" fmla="*/ 900 w 2046"/>
              <a:gd name="T37" fmla="*/ 167 h 3119"/>
              <a:gd name="T38" fmla="*/ 708 w 2046"/>
              <a:gd name="T39" fmla="*/ 277 h 3119"/>
              <a:gd name="T40" fmla="*/ 567 w 2046"/>
              <a:gd name="T41" fmla="*/ 390 h 3119"/>
              <a:gd name="T42" fmla="*/ 428 w 2046"/>
              <a:gd name="T43" fmla="*/ 522 h 3119"/>
              <a:gd name="T44" fmla="*/ 317 w 2046"/>
              <a:gd name="T45" fmla="*/ 660 h 3119"/>
              <a:gd name="T46" fmla="*/ 215 w 2046"/>
              <a:gd name="T47" fmla="*/ 808 h 3119"/>
              <a:gd name="T48" fmla="*/ 135 w 2046"/>
              <a:gd name="T49" fmla="*/ 972 h 3119"/>
              <a:gd name="T50" fmla="*/ 69 w 2046"/>
              <a:gd name="T51" fmla="*/ 1155 h 3119"/>
              <a:gd name="T52" fmla="*/ 24 w 2046"/>
              <a:gd name="T53" fmla="*/ 1340 h 3119"/>
              <a:gd name="T54" fmla="*/ 3 w 2046"/>
              <a:gd name="T55" fmla="*/ 1537 h 3119"/>
              <a:gd name="T56" fmla="*/ 3 w 2046"/>
              <a:gd name="T57" fmla="*/ 1720 h 3119"/>
              <a:gd name="T58" fmla="*/ 34 w 2046"/>
              <a:gd name="T59" fmla="*/ 1940 h 3119"/>
              <a:gd name="T60" fmla="*/ 83 w 2046"/>
              <a:gd name="T61" fmla="*/ 2131 h 3119"/>
              <a:gd name="T62" fmla="*/ 153 w 2046"/>
              <a:gd name="T63" fmla="*/ 2292 h 3119"/>
              <a:gd name="T64" fmla="*/ 238 w 2046"/>
              <a:gd name="T65" fmla="*/ 2459 h 3119"/>
              <a:gd name="T66" fmla="*/ 356 w 2046"/>
              <a:gd name="T67" fmla="*/ 2621 h 3119"/>
              <a:gd name="T68" fmla="*/ 475 w 2046"/>
              <a:gd name="T69" fmla="*/ 2759 h 3119"/>
              <a:gd name="T70" fmla="*/ 597 w 2046"/>
              <a:gd name="T71" fmla="*/ 2870 h 3119"/>
              <a:gd name="T72" fmla="*/ 745 w 2046"/>
              <a:gd name="T73" fmla="*/ 2975 h 3119"/>
              <a:gd name="T74" fmla="*/ 869 w 2046"/>
              <a:gd name="T75" fmla="*/ 3043 h 3119"/>
              <a:gd name="T76" fmla="*/ 989 w 2046"/>
              <a:gd name="T77" fmla="*/ 3085 h 3119"/>
              <a:gd name="T78" fmla="*/ 1146 w 2046"/>
              <a:gd name="T79" fmla="*/ 3115 h 3119"/>
              <a:gd name="T80" fmla="*/ 1281 w 2046"/>
              <a:gd name="T81" fmla="*/ 3115 h 3119"/>
              <a:gd name="T82" fmla="*/ 1451 w 2046"/>
              <a:gd name="T83" fmla="*/ 3083 h 3119"/>
              <a:gd name="T84" fmla="*/ 1588 w 2046"/>
              <a:gd name="T85" fmla="*/ 3017 h 3119"/>
              <a:gd name="T86" fmla="*/ 1713 w 2046"/>
              <a:gd name="T87" fmla="*/ 2928 h 3119"/>
              <a:gd name="T88" fmla="*/ 1821 w 2046"/>
              <a:gd name="T89" fmla="*/ 2811 h 3119"/>
              <a:gd name="T90" fmla="*/ 1902 w 2046"/>
              <a:gd name="T91" fmla="*/ 2671 h 3119"/>
              <a:gd name="T92" fmla="*/ 1950 w 2046"/>
              <a:gd name="T93" fmla="*/ 2506 h 3119"/>
              <a:gd name="T94" fmla="*/ 1964 w 2046"/>
              <a:gd name="T95" fmla="*/ 2330 h 3119"/>
              <a:gd name="T96" fmla="*/ 1933 w 2046"/>
              <a:gd name="T97" fmla="*/ 2145 h 3119"/>
              <a:gd name="T98" fmla="*/ 1860 w 2046"/>
              <a:gd name="T99" fmla="*/ 1983 h 3119"/>
              <a:gd name="T100" fmla="*/ 1753 w 2046"/>
              <a:gd name="T101" fmla="*/ 1830 h 3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46" h="3119">
                <a:moveTo>
                  <a:pt x="1682" y="1751"/>
                </a:moveTo>
                <a:lnTo>
                  <a:pt x="1609" y="1681"/>
                </a:lnTo>
                <a:lnTo>
                  <a:pt x="1534" y="1621"/>
                </a:lnTo>
                <a:lnTo>
                  <a:pt x="1372" y="1502"/>
                </a:lnTo>
                <a:lnTo>
                  <a:pt x="1290" y="1424"/>
                </a:lnTo>
                <a:lnTo>
                  <a:pt x="1229" y="1347"/>
                </a:lnTo>
                <a:lnTo>
                  <a:pt x="1166" y="1227"/>
                </a:lnTo>
                <a:lnTo>
                  <a:pt x="1130" y="1131"/>
                </a:lnTo>
                <a:lnTo>
                  <a:pt x="1097" y="1032"/>
                </a:lnTo>
                <a:lnTo>
                  <a:pt x="1085" y="941"/>
                </a:lnTo>
                <a:lnTo>
                  <a:pt x="1083" y="850"/>
                </a:lnTo>
                <a:lnTo>
                  <a:pt x="1088" y="773"/>
                </a:lnTo>
                <a:lnTo>
                  <a:pt x="1106" y="665"/>
                </a:lnTo>
                <a:lnTo>
                  <a:pt x="1142" y="564"/>
                </a:lnTo>
                <a:lnTo>
                  <a:pt x="1186" y="474"/>
                </a:lnTo>
                <a:lnTo>
                  <a:pt x="1245" y="378"/>
                </a:lnTo>
                <a:lnTo>
                  <a:pt x="1329" y="281"/>
                </a:lnTo>
                <a:lnTo>
                  <a:pt x="1395" y="215"/>
                </a:lnTo>
                <a:lnTo>
                  <a:pt x="1463" y="163"/>
                </a:lnTo>
                <a:lnTo>
                  <a:pt x="1532" y="122"/>
                </a:lnTo>
                <a:lnTo>
                  <a:pt x="1604" y="90"/>
                </a:lnTo>
                <a:lnTo>
                  <a:pt x="1682" y="66"/>
                </a:lnTo>
                <a:lnTo>
                  <a:pt x="1765" y="54"/>
                </a:lnTo>
                <a:lnTo>
                  <a:pt x="1821" y="50"/>
                </a:lnTo>
                <a:lnTo>
                  <a:pt x="1886" y="48"/>
                </a:lnTo>
                <a:lnTo>
                  <a:pt x="2046" y="60"/>
                </a:lnTo>
                <a:lnTo>
                  <a:pt x="1928" y="32"/>
                </a:lnTo>
                <a:lnTo>
                  <a:pt x="1842" y="18"/>
                </a:lnTo>
                <a:lnTo>
                  <a:pt x="1747" y="6"/>
                </a:lnTo>
                <a:lnTo>
                  <a:pt x="1651" y="0"/>
                </a:lnTo>
                <a:lnTo>
                  <a:pt x="1570" y="0"/>
                </a:lnTo>
                <a:lnTo>
                  <a:pt x="1485" y="6"/>
                </a:lnTo>
                <a:lnTo>
                  <a:pt x="1391" y="14"/>
                </a:lnTo>
                <a:lnTo>
                  <a:pt x="1306" y="30"/>
                </a:lnTo>
                <a:lnTo>
                  <a:pt x="1203" y="54"/>
                </a:lnTo>
                <a:lnTo>
                  <a:pt x="1092" y="85"/>
                </a:lnTo>
                <a:lnTo>
                  <a:pt x="985" y="127"/>
                </a:lnTo>
                <a:lnTo>
                  <a:pt x="900" y="167"/>
                </a:lnTo>
                <a:lnTo>
                  <a:pt x="806" y="217"/>
                </a:lnTo>
                <a:lnTo>
                  <a:pt x="708" y="277"/>
                </a:lnTo>
                <a:lnTo>
                  <a:pt x="637" y="333"/>
                </a:lnTo>
                <a:lnTo>
                  <a:pt x="567" y="390"/>
                </a:lnTo>
                <a:lnTo>
                  <a:pt x="494" y="458"/>
                </a:lnTo>
                <a:lnTo>
                  <a:pt x="428" y="522"/>
                </a:lnTo>
                <a:lnTo>
                  <a:pt x="374" y="587"/>
                </a:lnTo>
                <a:lnTo>
                  <a:pt x="317" y="660"/>
                </a:lnTo>
                <a:lnTo>
                  <a:pt x="266" y="731"/>
                </a:lnTo>
                <a:lnTo>
                  <a:pt x="215" y="808"/>
                </a:lnTo>
                <a:lnTo>
                  <a:pt x="174" y="888"/>
                </a:lnTo>
                <a:lnTo>
                  <a:pt x="135" y="972"/>
                </a:lnTo>
                <a:lnTo>
                  <a:pt x="99" y="1059"/>
                </a:lnTo>
                <a:lnTo>
                  <a:pt x="69" y="1155"/>
                </a:lnTo>
                <a:lnTo>
                  <a:pt x="42" y="1247"/>
                </a:lnTo>
                <a:lnTo>
                  <a:pt x="24" y="1340"/>
                </a:lnTo>
                <a:lnTo>
                  <a:pt x="10" y="1448"/>
                </a:lnTo>
                <a:lnTo>
                  <a:pt x="3" y="1537"/>
                </a:lnTo>
                <a:lnTo>
                  <a:pt x="0" y="1627"/>
                </a:lnTo>
                <a:lnTo>
                  <a:pt x="3" y="1720"/>
                </a:lnTo>
                <a:lnTo>
                  <a:pt x="16" y="1828"/>
                </a:lnTo>
                <a:lnTo>
                  <a:pt x="34" y="1940"/>
                </a:lnTo>
                <a:lnTo>
                  <a:pt x="57" y="2035"/>
                </a:lnTo>
                <a:lnTo>
                  <a:pt x="83" y="2131"/>
                </a:lnTo>
                <a:lnTo>
                  <a:pt x="113" y="2208"/>
                </a:lnTo>
                <a:lnTo>
                  <a:pt x="153" y="2292"/>
                </a:lnTo>
                <a:lnTo>
                  <a:pt x="189" y="2370"/>
                </a:lnTo>
                <a:lnTo>
                  <a:pt x="238" y="2459"/>
                </a:lnTo>
                <a:lnTo>
                  <a:pt x="296" y="2548"/>
                </a:lnTo>
                <a:lnTo>
                  <a:pt x="356" y="2621"/>
                </a:lnTo>
                <a:lnTo>
                  <a:pt x="412" y="2691"/>
                </a:lnTo>
                <a:lnTo>
                  <a:pt x="475" y="2759"/>
                </a:lnTo>
                <a:lnTo>
                  <a:pt x="541" y="2822"/>
                </a:lnTo>
                <a:lnTo>
                  <a:pt x="597" y="2870"/>
                </a:lnTo>
                <a:lnTo>
                  <a:pt x="668" y="2928"/>
                </a:lnTo>
                <a:lnTo>
                  <a:pt x="745" y="2975"/>
                </a:lnTo>
                <a:lnTo>
                  <a:pt x="806" y="3012"/>
                </a:lnTo>
                <a:lnTo>
                  <a:pt x="869" y="3043"/>
                </a:lnTo>
                <a:lnTo>
                  <a:pt x="930" y="3067"/>
                </a:lnTo>
                <a:lnTo>
                  <a:pt x="989" y="3085"/>
                </a:lnTo>
                <a:lnTo>
                  <a:pt x="1078" y="3107"/>
                </a:lnTo>
                <a:lnTo>
                  <a:pt x="1146" y="3115"/>
                </a:lnTo>
                <a:lnTo>
                  <a:pt x="1216" y="3119"/>
                </a:lnTo>
                <a:lnTo>
                  <a:pt x="1281" y="3115"/>
                </a:lnTo>
                <a:lnTo>
                  <a:pt x="1367" y="3104"/>
                </a:lnTo>
                <a:lnTo>
                  <a:pt x="1451" y="3083"/>
                </a:lnTo>
                <a:lnTo>
                  <a:pt x="1527" y="3053"/>
                </a:lnTo>
                <a:lnTo>
                  <a:pt x="1588" y="3017"/>
                </a:lnTo>
                <a:lnTo>
                  <a:pt x="1658" y="2975"/>
                </a:lnTo>
                <a:lnTo>
                  <a:pt x="1713" y="2928"/>
                </a:lnTo>
                <a:lnTo>
                  <a:pt x="1771" y="2874"/>
                </a:lnTo>
                <a:lnTo>
                  <a:pt x="1821" y="2811"/>
                </a:lnTo>
                <a:lnTo>
                  <a:pt x="1867" y="2743"/>
                </a:lnTo>
                <a:lnTo>
                  <a:pt x="1902" y="2671"/>
                </a:lnTo>
                <a:lnTo>
                  <a:pt x="1928" y="2590"/>
                </a:lnTo>
                <a:lnTo>
                  <a:pt x="1950" y="2506"/>
                </a:lnTo>
                <a:lnTo>
                  <a:pt x="1962" y="2420"/>
                </a:lnTo>
                <a:lnTo>
                  <a:pt x="1964" y="2330"/>
                </a:lnTo>
                <a:lnTo>
                  <a:pt x="1952" y="2231"/>
                </a:lnTo>
                <a:lnTo>
                  <a:pt x="1933" y="2145"/>
                </a:lnTo>
                <a:lnTo>
                  <a:pt x="1898" y="2062"/>
                </a:lnTo>
                <a:lnTo>
                  <a:pt x="1860" y="1983"/>
                </a:lnTo>
                <a:lnTo>
                  <a:pt x="1813" y="1914"/>
                </a:lnTo>
                <a:lnTo>
                  <a:pt x="1753" y="1830"/>
                </a:lnTo>
                <a:lnTo>
                  <a:pt x="1682" y="1751"/>
                </a:lnTo>
                <a:close/>
              </a:path>
            </a:pathLst>
          </a:custGeom>
          <a:gradFill rotWithShape="1">
            <a:gsLst>
              <a:gs pos="0">
                <a:schemeClr val="bg1">
                  <a:lumMod val="75000"/>
                </a:schemeClr>
              </a:gs>
              <a:gs pos="100000">
                <a:schemeClr val="tx1"/>
              </a:gs>
            </a:gsLst>
            <a:path path="rect">
              <a:fillToRect l="50000" t="50000" r="50000" b="50000"/>
            </a:path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/>
          <a:lstStyle/>
          <a:p>
            <a:pPr algn="ctr">
              <a:defRPr/>
            </a:pPr>
            <a:endParaRPr lang="th-TH" sz="3600" kern="0">
              <a:solidFill>
                <a:srgbClr val="FFFF00"/>
              </a:solidFill>
              <a:latin typeface="AngsanaUPC" pitchFamily="18" charset="-34"/>
              <a:cs typeface="LilyUPC" panose="020B0604020202020204" pitchFamily="34" charset="-34"/>
            </a:endParaRPr>
          </a:p>
        </p:txBody>
      </p:sp>
      <p:sp>
        <p:nvSpPr>
          <p:cNvPr id="6" name="WordArt 20"/>
          <p:cNvSpPr>
            <a:spLocks noChangeArrowheads="1" noChangeShapeType="1" noTextEdit="1"/>
          </p:cNvSpPr>
          <p:nvPr/>
        </p:nvSpPr>
        <p:spPr bwMode="auto">
          <a:xfrm>
            <a:off x="7971017" y="1560815"/>
            <a:ext cx="463190" cy="46319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Stop">
              <a:avLst>
                <a:gd name="adj" fmla="val 14286"/>
              </a:avLst>
            </a:prstTxWarp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>
              <a:defRPr/>
            </a:pPr>
            <a:r>
              <a:rPr lang="th-TH" sz="2000" b="1" kern="10" dirty="0">
                <a:gradFill rotWithShape="1">
                  <a:gsLst>
                    <a:gs pos="0">
                      <a:srgbClr val="1904E0">
                        <a:gamma/>
                        <a:tint val="32549"/>
                        <a:invGamma/>
                      </a:srgbClr>
                    </a:gs>
                    <a:gs pos="100000">
                      <a:srgbClr val="1904E0"/>
                    </a:gs>
                  </a:gsLst>
                  <a:path path="rect">
                    <a:fillToRect l="50000" t="50000" r="50000" b="50000"/>
                  </a:path>
                </a:gradFill>
                <a:latin typeface="Browallia New"/>
                <a:cs typeface="Browallia New"/>
              </a:rPr>
              <a:t>ระบบ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11227" y="152400"/>
            <a:ext cx="8802598" cy="581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h-TH" sz="3600" b="1" u="sng" dirty="0" smtClean="0">
                <a:solidFill>
                  <a:srgbClr val="0070C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บบ</a:t>
            </a:r>
            <a:r>
              <a:rPr lang="th-TH" sz="3600" b="1" u="sng" dirty="0" smtClean="0">
                <a:solidFill>
                  <a:srgbClr val="0070C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นับสนุนการบริหารจัดการและการพัฒนา</a:t>
            </a:r>
            <a:r>
              <a:rPr lang="th-TH" sz="3600" b="1" u="sng" dirty="0" smtClean="0">
                <a:solidFill>
                  <a:srgbClr val="0070C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ุคลากร</a:t>
            </a:r>
            <a:endParaRPr lang="th-TH" sz="3600" b="1" u="sng" dirty="0" smtClean="0">
              <a:solidFill>
                <a:srgbClr val="0070C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. ระบบ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บริหารจัดการสวัสดิการ เพื่อลดความเหลื่อมล้ำ </a:t>
            </a:r>
            <a:endParaRPr lang="th-TH" sz="2800" b="1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  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และ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ร้างขวัญกำลังใจในการทำงาน </a:t>
            </a:r>
            <a:r>
              <a:rPr lang="en-US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4)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 นำ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บบการทำงานเพื่อองค์กร แทนการประเมินผลลัพธ์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3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 ปรับ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บบบริหารตามความสามารถไม่ใช่ตามอาวุโส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4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 มี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บบคัดเลือกคนที่ดี พิจารณาจากความสามารถ และผลงาน เช่น </a:t>
            </a:r>
            <a:r>
              <a:rPr lang="en-US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QPS</a:t>
            </a:r>
            <a:endParaRPr lang="th-TH" sz="28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5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 มี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ส้นทางการพัฒนาที่ชัดเจน และเปิดโอกาสให้คลื่นลูกใหม่ได้แสดงความสามารถ </a:t>
            </a:r>
            <a:r>
              <a:rPr lang="en-US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2)</a:t>
            </a:r>
            <a:endParaRPr lang="th-TH" sz="28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6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 ระบบ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ุ่งเน้นผลงาน 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ไม่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น้นที่กระบวนการ หรือ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ธีการ มีระบบ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ุณให้โทษในการ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ทำงาน</a:t>
            </a:r>
            <a:endParaRPr lang="th-TH" sz="28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7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 การ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ทำงานถูกต้อง รวดเร็ว ทันต่อสถานการณ์ และนำไปใช้อย่างมีประสิทธิภาพ </a:t>
            </a:r>
            <a:r>
              <a:rPr lang="en-US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2)</a:t>
            </a:r>
            <a:endParaRPr lang="th-TH" sz="2800" b="1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8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 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บบ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ป็นไปในทิศทางเดียวกัน 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พื่อลด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วามขัดแย้งสร้างความ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ามัคคี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9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 เพิ่ม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วามเป็นมาตรฐาน (มืออาชีพ) มีความ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ต่อเนื่อง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0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. ยอมรับ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ประเมินตนเอง และเปิดโอกาสให้คนอื่น/คนรุ่นใหม่ได้มี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โอกาส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h-TH" sz="2800" b="1" dirty="0" smtClean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1. ไม่</a:t>
            </a:r>
            <a:r>
              <a:rPr lang="th-TH" sz="2800" b="1" dirty="0" smtClean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่งเสริมคนเก่ง ใช้ระบบอุปถัมภ์ เครือญาติ พวกพ้อง </a:t>
            </a:r>
            <a:r>
              <a:rPr lang="en-US" sz="2800" b="1" dirty="0" smtClean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3</a:t>
            </a:r>
            <a:r>
              <a:rPr lang="en-US" sz="2800" b="1" dirty="0" smtClean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  <a:endParaRPr lang="th-TH" sz="2800" b="1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172200" y="0"/>
            <a:ext cx="1475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rgbClr val="0070C0"/>
                </a:solidFill>
              </a:rPr>
              <a:t>Workshop#2</a:t>
            </a:r>
            <a:endParaRPr lang="en-US" u="sng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282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799 -4.44444E-6 L 0.54566 -4.44444E-6 " pathEditMode="relative" rAng="0" ptsTypes="AA">
                                      <p:cBhvr>
                                        <p:cTn id="9" dur="3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875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8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Rot by="-43200000">
                                      <p:cBhvr>
                                        <p:cTn id="11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5" grpId="2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6D83A46-A5C8-4ADC-A7FC-C178C77114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reeform 12"/>
          <p:cNvSpPr>
            <a:spLocks/>
          </p:cNvSpPr>
          <p:nvPr/>
        </p:nvSpPr>
        <p:spPr bwMode="auto">
          <a:xfrm>
            <a:off x="7391400" y="76503"/>
            <a:ext cx="1622425" cy="2474912"/>
          </a:xfrm>
          <a:custGeom>
            <a:avLst/>
            <a:gdLst>
              <a:gd name="T0" fmla="*/ 1609 w 2046"/>
              <a:gd name="T1" fmla="*/ 1681 h 3119"/>
              <a:gd name="T2" fmla="*/ 1372 w 2046"/>
              <a:gd name="T3" fmla="*/ 1502 h 3119"/>
              <a:gd name="T4" fmla="*/ 1229 w 2046"/>
              <a:gd name="T5" fmla="*/ 1347 h 3119"/>
              <a:gd name="T6" fmla="*/ 1130 w 2046"/>
              <a:gd name="T7" fmla="*/ 1131 h 3119"/>
              <a:gd name="T8" fmla="*/ 1085 w 2046"/>
              <a:gd name="T9" fmla="*/ 941 h 3119"/>
              <a:gd name="T10" fmla="*/ 1088 w 2046"/>
              <a:gd name="T11" fmla="*/ 773 h 3119"/>
              <a:gd name="T12" fmla="*/ 1142 w 2046"/>
              <a:gd name="T13" fmla="*/ 564 h 3119"/>
              <a:gd name="T14" fmla="*/ 1245 w 2046"/>
              <a:gd name="T15" fmla="*/ 378 h 3119"/>
              <a:gd name="T16" fmla="*/ 1395 w 2046"/>
              <a:gd name="T17" fmla="*/ 215 h 3119"/>
              <a:gd name="T18" fmla="*/ 1532 w 2046"/>
              <a:gd name="T19" fmla="*/ 122 h 3119"/>
              <a:gd name="T20" fmla="*/ 1682 w 2046"/>
              <a:gd name="T21" fmla="*/ 66 h 3119"/>
              <a:gd name="T22" fmla="*/ 1821 w 2046"/>
              <a:gd name="T23" fmla="*/ 50 h 3119"/>
              <a:gd name="T24" fmla="*/ 2046 w 2046"/>
              <a:gd name="T25" fmla="*/ 60 h 3119"/>
              <a:gd name="T26" fmla="*/ 1842 w 2046"/>
              <a:gd name="T27" fmla="*/ 18 h 3119"/>
              <a:gd name="T28" fmla="*/ 1651 w 2046"/>
              <a:gd name="T29" fmla="*/ 0 h 3119"/>
              <a:gd name="T30" fmla="*/ 1485 w 2046"/>
              <a:gd name="T31" fmla="*/ 6 h 3119"/>
              <a:gd name="T32" fmla="*/ 1306 w 2046"/>
              <a:gd name="T33" fmla="*/ 30 h 3119"/>
              <a:gd name="T34" fmla="*/ 1092 w 2046"/>
              <a:gd name="T35" fmla="*/ 85 h 3119"/>
              <a:gd name="T36" fmla="*/ 900 w 2046"/>
              <a:gd name="T37" fmla="*/ 167 h 3119"/>
              <a:gd name="T38" fmla="*/ 708 w 2046"/>
              <a:gd name="T39" fmla="*/ 277 h 3119"/>
              <a:gd name="T40" fmla="*/ 567 w 2046"/>
              <a:gd name="T41" fmla="*/ 390 h 3119"/>
              <a:gd name="T42" fmla="*/ 428 w 2046"/>
              <a:gd name="T43" fmla="*/ 522 h 3119"/>
              <a:gd name="T44" fmla="*/ 317 w 2046"/>
              <a:gd name="T45" fmla="*/ 660 h 3119"/>
              <a:gd name="T46" fmla="*/ 215 w 2046"/>
              <a:gd name="T47" fmla="*/ 808 h 3119"/>
              <a:gd name="T48" fmla="*/ 135 w 2046"/>
              <a:gd name="T49" fmla="*/ 972 h 3119"/>
              <a:gd name="T50" fmla="*/ 69 w 2046"/>
              <a:gd name="T51" fmla="*/ 1155 h 3119"/>
              <a:gd name="T52" fmla="*/ 24 w 2046"/>
              <a:gd name="T53" fmla="*/ 1340 h 3119"/>
              <a:gd name="T54" fmla="*/ 3 w 2046"/>
              <a:gd name="T55" fmla="*/ 1537 h 3119"/>
              <a:gd name="T56" fmla="*/ 3 w 2046"/>
              <a:gd name="T57" fmla="*/ 1720 h 3119"/>
              <a:gd name="T58" fmla="*/ 34 w 2046"/>
              <a:gd name="T59" fmla="*/ 1940 h 3119"/>
              <a:gd name="T60" fmla="*/ 83 w 2046"/>
              <a:gd name="T61" fmla="*/ 2131 h 3119"/>
              <a:gd name="T62" fmla="*/ 153 w 2046"/>
              <a:gd name="T63" fmla="*/ 2292 h 3119"/>
              <a:gd name="T64" fmla="*/ 238 w 2046"/>
              <a:gd name="T65" fmla="*/ 2459 h 3119"/>
              <a:gd name="T66" fmla="*/ 356 w 2046"/>
              <a:gd name="T67" fmla="*/ 2621 h 3119"/>
              <a:gd name="T68" fmla="*/ 475 w 2046"/>
              <a:gd name="T69" fmla="*/ 2759 h 3119"/>
              <a:gd name="T70" fmla="*/ 597 w 2046"/>
              <a:gd name="T71" fmla="*/ 2870 h 3119"/>
              <a:gd name="T72" fmla="*/ 745 w 2046"/>
              <a:gd name="T73" fmla="*/ 2975 h 3119"/>
              <a:gd name="T74" fmla="*/ 869 w 2046"/>
              <a:gd name="T75" fmla="*/ 3043 h 3119"/>
              <a:gd name="T76" fmla="*/ 989 w 2046"/>
              <a:gd name="T77" fmla="*/ 3085 h 3119"/>
              <a:gd name="T78" fmla="*/ 1146 w 2046"/>
              <a:gd name="T79" fmla="*/ 3115 h 3119"/>
              <a:gd name="T80" fmla="*/ 1281 w 2046"/>
              <a:gd name="T81" fmla="*/ 3115 h 3119"/>
              <a:gd name="T82" fmla="*/ 1451 w 2046"/>
              <a:gd name="T83" fmla="*/ 3083 h 3119"/>
              <a:gd name="T84" fmla="*/ 1588 w 2046"/>
              <a:gd name="T85" fmla="*/ 3017 h 3119"/>
              <a:gd name="T86" fmla="*/ 1713 w 2046"/>
              <a:gd name="T87" fmla="*/ 2928 h 3119"/>
              <a:gd name="T88" fmla="*/ 1821 w 2046"/>
              <a:gd name="T89" fmla="*/ 2811 h 3119"/>
              <a:gd name="T90" fmla="*/ 1902 w 2046"/>
              <a:gd name="T91" fmla="*/ 2671 h 3119"/>
              <a:gd name="T92" fmla="*/ 1950 w 2046"/>
              <a:gd name="T93" fmla="*/ 2506 h 3119"/>
              <a:gd name="T94" fmla="*/ 1964 w 2046"/>
              <a:gd name="T95" fmla="*/ 2330 h 3119"/>
              <a:gd name="T96" fmla="*/ 1933 w 2046"/>
              <a:gd name="T97" fmla="*/ 2145 h 3119"/>
              <a:gd name="T98" fmla="*/ 1860 w 2046"/>
              <a:gd name="T99" fmla="*/ 1983 h 3119"/>
              <a:gd name="T100" fmla="*/ 1753 w 2046"/>
              <a:gd name="T101" fmla="*/ 1830 h 3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46" h="3119">
                <a:moveTo>
                  <a:pt x="1682" y="1751"/>
                </a:moveTo>
                <a:lnTo>
                  <a:pt x="1609" y="1681"/>
                </a:lnTo>
                <a:lnTo>
                  <a:pt x="1534" y="1621"/>
                </a:lnTo>
                <a:lnTo>
                  <a:pt x="1372" y="1502"/>
                </a:lnTo>
                <a:lnTo>
                  <a:pt x="1290" y="1424"/>
                </a:lnTo>
                <a:lnTo>
                  <a:pt x="1229" y="1347"/>
                </a:lnTo>
                <a:lnTo>
                  <a:pt x="1166" y="1227"/>
                </a:lnTo>
                <a:lnTo>
                  <a:pt x="1130" y="1131"/>
                </a:lnTo>
                <a:lnTo>
                  <a:pt x="1097" y="1032"/>
                </a:lnTo>
                <a:lnTo>
                  <a:pt x="1085" y="941"/>
                </a:lnTo>
                <a:lnTo>
                  <a:pt x="1083" y="850"/>
                </a:lnTo>
                <a:lnTo>
                  <a:pt x="1088" y="773"/>
                </a:lnTo>
                <a:lnTo>
                  <a:pt x="1106" y="665"/>
                </a:lnTo>
                <a:lnTo>
                  <a:pt x="1142" y="564"/>
                </a:lnTo>
                <a:lnTo>
                  <a:pt x="1186" y="474"/>
                </a:lnTo>
                <a:lnTo>
                  <a:pt x="1245" y="378"/>
                </a:lnTo>
                <a:lnTo>
                  <a:pt x="1329" y="281"/>
                </a:lnTo>
                <a:lnTo>
                  <a:pt x="1395" y="215"/>
                </a:lnTo>
                <a:lnTo>
                  <a:pt x="1463" y="163"/>
                </a:lnTo>
                <a:lnTo>
                  <a:pt x="1532" y="122"/>
                </a:lnTo>
                <a:lnTo>
                  <a:pt x="1604" y="90"/>
                </a:lnTo>
                <a:lnTo>
                  <a:pt x="1682" y="66"/>
                </a:lnTo>
                <a:lnTo>
                  <a:pt x="1765" y="54"/>
                </a:lnTo>
                <a:lnTo>
                  <a:pt x="1821" y="50"/>
                </a:lnTo>
                <a:lnTo>
                  <a:pt x="1886" y="48"/>
                </a:lnTo>
                <a:lnTo>
                  <a:pt x="2046" y="60"/>
                </a:lnTo>
                <a:lnTo>
                  <a:pt x="1928" y="32"/>
                </a:lnTo>
                <a:lnTo>
                  <a:pt x="1842" y="18"/>
                </a:lnTo>
                <a:lnTo>
                  <a:pt x="1747" y="6"/>
                </a:lnTo>
                <a:lnTo>
                  <a:pt x="1651" y="0"/>
                </a:lnTo>
                <a:lnTo>
                  <a:pt x="1570" y="0"/>
                </a:lnTo>
                <a:lnTo>
                  <a:pt x="1485" y="6"/>
                </a:lnTo>
                <a:lnTo>
                  <a:pt x="1391" y="14"/>
                </a:lnTo>
                <a:lnTo>
                  <a:pt x="1306" y="30"/>
                </a:lnTo>
                <a:lnTo>
                  <a:pt x="1203" y="54"/>
                </a:lnTo>
                <a:lnTo>
                  <a:pt x="1092" y="85"/>
                </a:lnTo>
                <a:lnTo>
                  <a:pt x="985" y="127"/>
                </a:lnTo>
                <a:lnTo>
                  <a:pt x="900" y="167"/>
                </a:lnTo>
                <a:lnTo>
                  <a:pt x="806" y="217"/>
                </a:lnTo>
                <a:lnTo>
                  <a:pt x="708" y="277"/>
                </a:lnTo>
                <a:lnTo>
                  <a:pt x="637" y="333"/>
                </a:lnTo>
                <a:lnTo>
                  <a:pt x="567" y="390"/>
                </a:lnTo>
                <a:lnTo>
                  <a:pt x="494" y="458"/>
                </a:lnTo>
                <a:lnTo>
                  <a:pt x="428" y="522"/>
                </a:lnTo>
                <a:lnTo>
                  <a:pt x="374" y="587"/>
                </a:lnTo>
                <a:lnTo>
                  <a:pt x="317" y="660"/>
                </a:lnTo>
                <a:lnTo>
                  <a:pt x="266" y="731"/>
                </a:lnTo>
                <a:lnTo>
                  <a:pt x="215" y="808"/>
                </a:lnTo>
                <a:lnTo>
                  <a:pt x="174" y="888"/>
                </a:lnTo>
                <a:lnTo>
                  <a:pt x="135" y="972"/>
                </a:lnTo>
                <a:lnTo>
                  <a:pt x="99" y="1059"/>
                </a:lnTo>
                <a:lnTo>
                  <a:pt x="69" y="1155"/>
                </a:lnTo>
                <a:lnTo>
                  <a:pt x="42" y="1247"/>
                </a:lnTo>
                <a:lnTo>
                  <a:pt x="24" y="1340"/>
                </a:lnTo>
                <a:lnTo>
                  <a:pt x="10" y="1448"/>
                </a:lnTo>
                <a:lnTo>
                  <a:pt x="3" y="1537"/>
                </a:lnTo>
                <a:lnTo>
                  <a:pt x="0" y="1627"/>
                </a:lnTo>
                <a:lnTo>
                  <a:pt x="3" y="1720"/>
                </a:lnTo>
                <a:lnTo>
                  <a:pt x="16" y="1828"/>
                </a:lnTo>
                <a:lnTo>
                  <a:pt x="34" y="1940"/>
                </a:lnTo>
                <a:lnTo>
                  <a:pt x="57" y="2035"/>
                </a:lnTo>
                <a:lnTo>
                  <a:pt x="83" y="2131"/>
                </a:lnTo>
                <a:lnTo>
                  <a:pt x="113" y="2208"/>
                </a:lnTo>
                <a:lnTo>
                  <a:pt x="153" y="2292"/>
                </a:lnTo>
                <a:lnTo>
                  <a:pt x="189" y="2370"/>
                </a:lnTo>
                <a:lnTo>
                  <a:pt x="238" y="2459"/>
                </a:lnTo>
                <a:lnTo>
                  <a:pt x="296" y="2548"/>
                </a:lnTo>
                <a:lnTo>
                  <a:pt x="356" y="2621"/>
                </a:lnTo>
                <a:lnTo>
                  <a:pt x="412" y="2691"/>
                </a:lnTo>
                <a:lnTo>
                  <a:pt x="475" y="2759"/>
                </a:lnTo>
                <a:lnTo>
                  <a:pt x="541" y="2822"/>
                </a:lnTo>
                <a:lnTo>
                  <a:pt x="597" y="2870"/>
                </a:lnTo>
                <a:lnTo>
                  <a:pt x="668" y="2928"/>
                </a:lnTo>
                <a:lnTo>
                  <a:pt x="745" y="2975"/>
                </a:lnTo>
                <a:lnTo>
                  <a:pt x="806" y="3012"/>
                </a:lnTo>
                <a:lnTo>
                  <a:pt x="869" y="3043"/>
                </a:lnTo>
                <a:lnTo>
                  <a:pt x="930" y="3067"/>
                </a:lnTo>
                <a:lnTo>
                  <a:pt x="989" y="3085"/>
                </a:lnTo>
                <a:lnTo>
                  <a:pt x="1078" y="3107"/>
                </a:lnTo>
                <a:lnTo>
                  <a:pt x="1146" y="3115"/>
                </a:lnTo>
                <a:lnTo>
                  <a:pt x="1216" y="3119"/>
                </a:lnTo>
                <a:lnTo>
                  <a:pt x="1281" y="3115"/>
                </a:lnTo>
                <a:lnTo>
                  <a:pt x="1367" y="3104"/>
                </a:lnTo>
                <a:lnTo>
                  <a:pt x="1451" y="3083"/>
                </a:lnTo>
                <a:lnTo>
                  <a:pt x="1527" y="3053"/>
                </a:lnTo>
                <a:lnTo>
                  <a:pt x="1588" y="3017"/>
                </a:lnTo>
                <a:lnTo>
                  <a:pt x="1658" y="2975"/>
                </a:lnTo>
                <a:lnTo>
                  <a:pt x="1713" y="2928"/>
                </a:lnTo>
                <a:lnTo>
                  <a:pt x="1771" y="2874"/>
                </a:lnTo>
                <a:lnTo>
                  <a:pt x="1821" y="2811"/>
                </a:lnTo>
                <a:lnTo>
                  <a:pt x="1867" y="2743"/>
                </a:lnTo>
                <a:lnTo>
                  <a:pt x="1902" y="2671"/>
                </a:lnTo>
                <a:lnTo>
                  <a:pt x="1928" y="2590"/>
                </a:lnTo>
                <a:lnTo>
                  <a:pt x="1950" y="2506"/>
                </a:lnTo>
                <a:lnTo>
                  <a:pt x="1962" y="2420"/>
                </a:lnTo>
                <a:lnTo>
                  <a:pt x="1964" y="2330"/>
                </a:lnTo>
                <a:lnTo>
                  <a:pt x="1952" y="2231"/>
                </a:lnTo>
                <a:lnTo>
                  <a:pt x="1933" y="2145"/>
                </a:lnTo>
                <a:lnTo>
                  <a:pt x="1898" y="2062"/>
                </a:lnTo>
                <a:lnTo>
                  <a:pt x="1860" y="1983"/>
                </a:lnTo>
                <a:lnTo>
                  <a:pt x="1813" y="1914"/>
                </a:lnTo>
                <a:lnTo>
                  <a:pt x="1753" y="1830"/>
                </a:lnTo>
                <a:lnTo>
                  <a:pt x="1682" y="1751"/>
                </a:lnTo>
                <a:close/>
              </a:path>
            </a:pathLst>
          </a:custGeom>
          <a:gradFill rotWithShape="1">
            <a:gsLst>
              <a:gs pos="0">
                <a:schemeClr val="bg1">
                  <a:lumMod val="75000"/>
                </a:schemeClr>
              </a:gs>
              <a:gs pos="100000">
                <a:schemeClr val="tx1"/>
              </a:gs>
            </a:gsLst>
            <a:path path="rect">
              <a:fillToRect l="50000" t="50000" r="50000" b="50000"/>
            </a:path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/>
          <a:lstStyle/>
          <a:p>
            <a:pPr algn="ctr">
              <a:defRPr/>
            </a:pPr>
            <a:endParaRPr lang="th-TH" sz="3600" kern="0">
              <a:solidFill>
                <a:srgbClr val="FFFF00"/>
              </a:solidFill>
              <a:latin typeface="AngsanaUPC" pitchFamily="18" charset="-34"/>
              <a:cs typeface="LilyUPC" panose="020B0604020202020204" pitchFamily="34" charset="-34"/>
            </a:endParaRPr>
          </a:p>
        </p:txBody>
      </p:sp>
      <p:sp>
        <p:nvSpPr>
          <p:cNvPr id="6" name="WordArt 20"/>
          <p:cNvSpPr>
            <a:spLocks noChangeArrowheads="1" noChangeShapeType="1" noTextEdit="1"/>
          </p:cNvSpPr>
          <p:nvPr/>
        </p:nvSpPr>
        <p:spPr bwMode="auto">
          <a:xfrm>
            <a:off x="7971017" y="1560815"/>
            <a:ext cx="463190" cy="463190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Stop">
              <a:avLst>
                <a:gd name="adj" fmla="val 14286"/>
              </a:avLst>
            </a:prstTxWarp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>
              <a:defRPr/>
            </a:pPr>
            <a:r>
              <a:rPr lang="th-TH" sz="2000" b="1" kern="10" dirty="0">
                <a:gradFill rotWithShape="1">
                  <a:gsLst>
                    <a:gs pos="0">
                      <a:srgbClr val="1904E0">
                        <a:gamma/>
                        <a:tint val="32549"/>
                        <a:invGamma/>
                      </a:srgbClr>
                    </a:gs>
                    <a:gs pos="100000">
                      <a:srgbClr val="1904E0"/>
                    </a:gs>
                  </a:gsLst>
                  <a:path path="rect">
                    <a:fillToRect l="50000" t="50000" r="50000" b="50000"/>
                  </a:path>
                </a:gradFill>
                <a:latin typeface="Browallia New"/>
                <a:cs typeface="Browallia New"/>
              </a:rPr>
              <a:t>ระบบ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00185" y="381000"/>
            <a:ext cx="8802598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h-TH" sz="4400" b="1" u="sng" dirty="0" smtClean="0">
                <a:solidFill>
                  <a:srgbClr val="0070C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บบ</a:t>
            </a:r>
            <a:r>
              <a:rPr lang="th-TH" sz="4400" b="1" u="sng" dirty="0" smtClean="0">
                <a:solidFill>
                  <a:srgbClr val="0070C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ปกครอง</a:t>
            </a:r>
          </a:p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.ระบบ</a:t>
            </a: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ปกครองประชาธิปไตยที่สมบูรณ์</a:t>
            </a:r>
          </a:p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. ระบบ</a:t>
            </a: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ศาล/ยุติธรรม ความเข้มงวดในการใช้กฎหมาย </a:t>
            </a:r>
            <a:endParaRPr lang="th-TH" sz="3600" b="1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ไม่</a:t>
            </a: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ีอำนาจการเมืองมาแทรกแซง </a:t>
            </a:r>
            <a:r>
              <a:rPr lang="en-US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5)</a:t>
            </a:r>
            <a:endParaRPr lang="th-TH" sz="3600" b="1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th-TH" sz="4400" b="1" u="sng" dirty="0" smtClean="0">
                <a:solidFill>
                  <a:srgbClr val="0070C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ทคโนโลยีและระบบข้อมูลสารสนเทศ</a:t>
            </a:r>
            <a:endParaRPr lang="en-US" sz="4400" b="1" u="sng" dirty="0" smtClean="0">
              <a:solidFill>
                <a:srgbClr val="0070C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. เทคโนโลยี</a:t>
            </a:r>
            <a:r>
              <a:rPr lang="th-TH" sz="36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ที่สอดคล้องกับความต้องการ</a:t>
            </a:r>
            <a:r>
              <a:rPr lang="en-US" sz="36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th-TH" sz="36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ไม่ซับซ้อน </a:t>
            </a:r>
            <a:r>
              <a:rPr lang="en-US" sz="36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4)</a:t>
            </a:r>
            <a:endParaRPr lang="th-TH" sz="36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. การ</a:t>
            </a:r>
            <a:r>
              <a:rPr lang="th-TH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ชื่อมโยงข้อมูล เพื่อการใช้งาน การตัดสนใจในทุกมิติ </a:t>
            </a:r>
            <a:r>
              <a:rPr lang="en-US" sz="36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(2)</a:t>
            </a:r>
            <a:endParaRPr lang="th-TH" sz="3600" b="1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918723" y="381000"/>
            <a:ext cx="1475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rgbClr val="0070C0"/>
                </a:solidFill>
              </a:rPr>
              <a:t>Workshop#2</a:t>
            </a:r>
            <a:endParaRPr lang="en-US" u="sng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6084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799 -4.44444E-6 L 0.54566 -4.44444E-6 " pathEditMode="relative" rAng="0" ptsTypes="AA">
                                      <p:cBhvr>
                                        <p:cTn id="9" dur="3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875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8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Rot by="-43200000">
                                      <p:cBhvr>
                                        <p:cTn id="11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5" grpId="2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152400"/>
            <a:ext cx="7772400" cy="457200"/>
          </a:xfrm>
        </p:spPr>
        <p:txBody>
          <a:bodyPr/>
          <a:lstStyle/>
          <a:p>
            <a:r>
              <a:rPr lang="th-TH" sz="4000" dirty="0" smtClean="0">
                <a:solidFill>
                  <a:srgbClr val="C00000"/>
                </a:solidFill>
              </a:rPr>
              <a:t>ข้อสังเกต/ คำถาม</a:t>
            </a:r>
            <a:endParaRPr lang="en-US" sz="4000" dirty="0">
              <a:solidFill>
                <a:srgbClr val="C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838200"/>
            <a:ext cx="8305800" cy="5638800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1)  </a:t>
            </a:r>
            <a:r>
              <a:rPr lang="th-TH" sz="2400" b="1" u="sng" dirty="0" smtClean="0">
                <a:solidFill>
                  <a:schemeClr val="accent1">
                    <a:lumMod val="75000"/>
                  </a:schemeClr>
                </a:solidFill>
                <a:latin typeface="TH Niramit AS" panose="02000506000000020004" pitchFamily="2" charset="-34"/>
                <a:cs typeface="TH Niramit AS" panose="02000506000000020004" pitchFamily="2" charset="-34"/>
              </a:rPr>
              <a:t>ควรเขียนเจตนารมณ์ของ วิสัยทัศน์</a:t>
            </a:r>
            <a:r>
              <a:rPr lang="th-TH" sz="2400" b="1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ไว้ด้วย เพื่อให้ประชาคมเข้าใจตรงกัน และง่ายต่อการนำสู่การกำหนดเป้าหมาย กลยุทธ์/แนวทาง โครงการ/กิจกรรม ต่อไป เช่น </a:t>
            </a:r>
          </a:p>
          <a:p>
            <a:r>
              <a:rPr lang="th-TH" sz="2400" b="1" dirty="0" smtClean="0">
                <a:solidFill>
                  <a:srgbClr val="0070C0"/>
                </a:solidFill>
                <a:latin typeface="TH Niramit AS" panose="02000506000000020004" pitchFamily="2" charset="-34"/>
                <a:cs typeface="TH Niramit AS" panose="02000506000000020004" pitchFamily="2" charset="-34"/>
              </a:rPr>
              <a:t>องค์กรชั้นนำ </a:t>
            </a:r>
          </a:p>
          <a:p>
            <a:pPr lvl="1"/>
            <a:r>
              <a:rPr lang="th-TH" sz="2400" dirty="0">
                <a:latin typeface="TH Niramit AS" panose="02000506000000020004" pitchFamily="2" charset="-34"/>
                <a:cs typeface="TH Niramit AS" panose="02000506000000020004" pitchFamily="2" charset="-34"/>
              </a:rPr>
              <a:t>มีนิยามว่าอย่างไร?</a:t>
            </a:r>
          </a:p>
          <a:p>
            <a:pPr lvl="1"/>
            <a:r>
              <a:rPr lang="th-TH" sz="2400" dirty="0">
                <a:latin typeface="TH Niramit AS" panose="02000506000000020004" pitchFamily="2" charset="-34"/>
                <a:cs typeface="TH Niramit AS" panose="02000506000000020004" pitchFamily="2" charset="-34"/>
              </a:rPr>
              <a:t>เปรียบเทียบกับองค์กรใด? </a:t>
            </a:r>
          </a:p>
          <a:p>
            <a:pPr lvl="1"/>
            <a:r>
              <a:rPr lang="th-TH" sz="2400" dirty="0">
                <a:latin typeface="TH Niramit AS" panose="02000506000000020004" pitchFamily="2" charset="-34"/>
                <a:cs typeface="TH Niramit AS" panose="02000506000000020004" pitchFamily="2" charset="-34"/>
              </a:rPr>
              <a:t>ชั้นนำในระดับใด? (ในประเทศ ในอาเซียน</a:t>
            </a:r>
            <a:r>
              <a:rPr lang="th-TH" sz="2400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)</a:t>
            </a:r>
          </a:p>
          <a:p>
            <a:r>
              <a:rPr lang="th-TH" sz="2400" b="1" dirty="0" smtClean="0">
                <a:solidFill>
                  <a:srgbClr val="0070C0"/>
                </a:solidFill>
                <a:latin typeface="TH Niramit AS" panose="02000506000000020004" pitchFamily="2" charset="-34"/>
                <a:cs typeface="TH Niramit AS" panose="02000506000000020004" pitchFamily="2" charset="-34"/>
              </a:rPr>
              <a:t>ยั่งยืน</a:t>
            </a:r>
          </a:p>
          <a:p>
            <a:pPr lvl="1"/>
            <a:r>
              <a:rPr lang="th-TH" sz="2300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ระบบบริหาร ยั่งยืน หรือ องค์กรยั่งยืน?</a:t>
            </a:r>
          </a:p>
          <a:p>
            <a:pPr lvl="1"/>
            <a:r>
              <a:rPr lang="th-TH" sz="2300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อะไร หรือ ส่วนประกอบใดบ้างที่บอกว่า ยั่งยืน?</a:t>
            </a:r>
            <a:endParaRPr lang="en-US" sz="2300" dirty="0" smtClean="0">
              <a:latin typeface="TH Niramit AS" panose="02000506000000020004" pitchFamily="2" charset="-34"/>
              <a:cs typeface="TH Niramit AS" panose="02000506000000020004" pitchFamily="2" charset="-34"/>
            </a:endParaRPr>
          </a:p>
          <a:p>
            <a:r>
              <a:rPr lang="th-TH" sz="2400" b="1" dirty="0" smtClean="0">
                <a:solidFill>
                  <a:srgbClr val="0070C0"/>
                </a:solidFill>
                <a:latin typeface="TH Niramit AS" panose="02000506000000020004" pitchFamily="2" charset="-34"/>
                <a:cs typeface="TH Niramit AS" panose="02000506000000020004" pitchFamily="2" charset="-34"/>
              </a:rPr>
              <a:t>ประสิทธิภาพ</a:t>
            </a:r>
          </a:p>
          <a:p>
            <a:pPr lvl="1"/>
            <a:r>
              <a:rPr lang="th-TH" sz="2400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การบริหารจัดการที่มีประสิทธิภาพวัดจากอะไร?</a:t>
            </a:r>
          </a:p>
          <a:p>
            <a:pPr lvl="1"/>
            <a:r>
              <a:rPr lang="th-TH" sz="2400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มีตัวเลข ตัวชี้วัด หรือไม่? </a:t>
            </a:r>
          </a:p>
          <a:p>
            <a:pPr lvl="1"/>
            <a:r>
              <a:rPr lang="th-TH" sz="2400" dirty="0" smtClean="0">
                <a:latin typeface="TH Niramit AS" panose="02000506000000020004" pitchFamily="2" charset="-34"/>
                <a:cs typeface="TH Niramit AS" panose="02000506000000020004" pitchFamily="2" charset="-34"/>
              </a:rPr>
              <a:t>มีอะไรดีขึ้นจากเดิม หรือ เดิมเป็นอย่างไร?</a:t>
            </a:r>
            <a:endParaRPr lang="th-TH" sz="2400" dirty="0">
              <a:latin typeface="TH Niramit AS" panose="02000506000000020004" pitchFamily="2" charset="-34"/>
              <a:cs typeface="TH Niramit AS" panose="02000506000000020004" pitchFamily="2" charset="-34"/>
            </a:endParaRPr>
          </a:p>
          <a:p>
            <a:pPr lvl="1"/>
            <a:r>
              <a:rPr lang="en-US" sz="2400" b="1" dirty="0">
                <a:solidFill>
                  <a:srgbClr val="C00000"/>
                </a:solidFill>
                <a:latin typeface="TH Niramit AS" panose="02000506000000020004" pitchFamily="2" charset="-34"/>
                <a:cs typeface="TH Niramit AS" panose="02000506000000020004" pitchFamily="2" charset="-34"/>
              </a:rPr>
              <a:t>Note: </a:t>
            </a:r>
            <a:r>
              <a:rPr lang="th-TH" sz="2400" b="1" dirty="0" err="1">
                <a:solidFill>
                  <a:srgbClr val="C00000"/>
                </a:solidFill>
                <a:latin typeface="TH Niramit AS" panose="02000506000000020004" pitchFamily="2" charset="-34"/>
                <a:cs typeface="TH Niramit AS" panose="02000506000000020004" pitchFamily="2" charset="-34"/>
              </a:rPr>
              <a:t>ธรรมาภิ</a:t>
            </a:r>
            <a:r>
              <a:rPr lang="th-TH" sz="2400" b="1" dirty="0">
                <a:solidFill>
                  <a:srgbClr val="C00000"/>
                </a:solidFill>
                <a:latin typeface="TH Niramit AS" panose="02000506000000020004" pitchFamily="2" charset="-34"/>
                <a:cs typeface="TH Niramit AS" panose="02000506000000020004" pitchFamily="2" charset="-34"/>
              </a:rPr>
              <a:t>บาล </a:t>
            </a:r>
            <a:r>
              <a:rPr lang="th-TH" sz="2400" dirty="0">
                <a:latin typeface="TH Niramit AS" panose="02000506000000020004" pitchFamily="2" charset="-34"/>
                <a:cs typeface="TH Niramit AS" panose="02000506000000020004" pitchFamily="2" charset="-34"/>
              </a:rPr>
              <a:t>เป็นหลักและแนวคิดของการบริหารจัดการองค์กร ไม่น่าจะอยู่ใน วิสัยทัศน์</a:t>
            </a:r>
            <a:endParaRPr lang="en-US" sz="2400" dirty="0">
              <a:latin typeface="TH Niramit AS" panose="02000506000000020004" pitchFamily="2" charset="-34"/>
              <a:cs typeface="TH Niramit AS" panose="02000506000000020004" pitchFamily="2" charset="-34"/>
            </a:endParaRPr>
          </a:p>
          <a:p>
            <a:pPr lvl="1"/>
            <a:endParaRPr lang="th-TH" sz="2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8892B0ED-4054-42B7-A893-2D57CE8DC8A6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th-TH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063057"/>
      </p:ext>
    </p:extLst>
  </p:cSld>
  <p:clrMapOvr>
    <a:masterClrMapping/>
  </p:clrMapOvr>
  <p:transition>
    <p:strips dir="r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6D83A46-A5C8-4ADC-A7FC-C178C77114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914400"/>
            <a:ext cx="8802598" cy="5724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14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. โครงการ</a:t>
            </a: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จัดตั้งศูนย์แพทยศาสตรศึกษา รพ.สมเด็จพระปิ่นเกล้า</a:t>
            </a:r>
          </a:p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. โครงการ</a:t>
            </a: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ร้างโรงไฟฟ้าพลังชีวมวล เป็นการสร้างพลังงานไฟฟ้า </a:t>
            </a:r>
            <a:r>
              <a:rPr lang="en-US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+ </a:t>
            </a: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กำจัดขยะ โดยไม่สร้างมลพิษ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3. โครงการ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าธารณูปโภคนพื้นที่สัตหีบ</a:t>
            </a: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และใกล้เคียง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ให้มีประสิทธิภาพมากขึ้น เนื่องจากไม่ใช่เขตของการไฟฟ้าภูมิภาค</a:t>
            </a:r>
          </a:p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4. มี</a:t>
            </a: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ลงทุน (งบประมาณ) และป้องกันการบุกรุก</a:t>
            </a:r>
          </a:p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5. โครงการ</a:t>
            </a: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ใช้ประโยชน์พื้นที่ส่วนของรัฐที่มิใช่เป็นกรรมสิทธิ์ของ ทร.เพื่อเป็นแหล่งทรัพยากรทางสิ่งแวดล้อม</a:t>
            </a:r>
          </a:p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6. Application </a:t>
            </a: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รื่อง การสมัครเป็นสมาชิกโดยระบบ </a:t>
            </a:r>
            <a:r>
              <a:rPr lang="en-US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IT </a:t>
            </a:r>
          </a:p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7. Project </a:t>
            </a:r>
            <a:r>
              <a:rPr lang="en-US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@ PLUTALUANG Navy Golf Course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8. โครงการ</a:t>
            </a:r>
            <a:r>
              <a:rPr lang="th-TH" sz="32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ัฒนาสายไฟฟ้าลง</a:t>
            </a:r>
            <a:r>
              <a:rPr lang="th-TH" sz="32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ดิน</a:t>
            </a:r>
            <a:endParaRPr lang="th-TH" sz="32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0" y="9144"/>
            <a:ext cx="9067800" cy="752856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dirty="0" smtClean="0">
                <a:solidFill>
                  <a:schemeClr val="tx1"/>
                </a:solidFill>
              </a:rPr>
              <a:t>Flagships Project </a:t>
            </a:r>
            <a:endParaRPr lang="en-US" sz="4000" u="sng" dirty="0">
              <a:solidFill>
                <a:srgbClr val="0070C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705600" y="11668"/>
            <a:ext cx="1475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rgbClr val="0070C0"/>
                </a:solidFill>
              </a:rPr>
              <a:t>Workshop#3</a:t>
            </a:r>
            <a:endParaRPr lang="en-US" u="sng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298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-18288" y="0"/>
            <a:ext cx="9067800" cy="752856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dirty="0" smtClean="0">
                <a:solidFill>
                  <a:schemeClr val="tx1"/>
                </a:solidFill>
              </a:rPr>
              <a:t>Flagships Project </a:t>
            </a:r>
            <a:endParaRPr lang="en-US" sz="4000" u="sng" dirty="0">
              <a:solidFill>
                <a:srgbClr val="0070C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6D83A46-A5C8-4ADC-A7FC-C178C77114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0185" y="896874"/>
            <a:ext cx="8802598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14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9. ปรับปรุง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โมสรให้เป็นสถานที่สร้างความสุขตอบสนองความต้องการของสมาชิก </a:t>
            </a:r>
            <a:endParaRPr lang="th-TH" sz="2800" b="1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 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ไม่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ำผลกำไรมาเป็น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ที่ตั้ง</a:t>
            </a:r>
            <a:endParaRPr lang="en-US" sz="2800" b="1" dirty="0" smtClean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spc="-7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0. One </a:t>
            </a:r>
            <a:r>
              <a:rPr lang="en-US" sz="2800" b="1" spc="-70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Stop service (</a:t>
            </a:r>
            <a:r>
              <a:rPr lang="th-TH" sz="2800" b="1" spc="-70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พิ่มความรวดเร็วในการบริการ ใช้หุ่นยนต์มาแทนคนในงานที่เสี่ยง</a:t>
            </a:r>
            <a:r>
              <a:rPr lang="th-TH" sz="2800" b="1" spc="-7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  <a:endParaRPr lang="th-TH" sz="2800" b="1" spc="-70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1. การ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ให้บริการครบวงจร (รับจองห้องจัดเลี้ยง มีทีมงานออแกไนเซอร์ 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ออกแบบสถานที่ 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และจัดงานแต่งงาน)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2. โครงการ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วัสดิการเพื่องาน งานเพื่อสวัสดิการ (ให้กำลังพลทุกคนมีส่วนร่วมกับการทำงานสวัสดิการ ผลประโยชน์ที่ได้ ตอบแทนกลับไปในรูปสวัสดิการ)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3. ใช้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บบเพื่อการสวัสดิการในกองทัพ หรือองค์กรต่างๆ โดยการให้ภาคเอกชนมาพัฒนาระบบสหกรณ์เดิมซึ่งภาครัฐทำแล้วไม่ก้าวหน้าเท่าที่ควร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4. พัฒนา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วัสดิการด้านกีฬาของทหารเรือ ให้เป็นส่วนหนึ่งของชีวิตประจำของกำลังพล </a:t>
            </a:r>
            <a:r>
              <a:rPr lang="th-TH" sz="2800" b="1" spc="-120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ให้เข้าไปถึงหน่วยงานไม่อยู่เฉพาะที่สนามกีฬาหรือที่กิจการเข้าไปสนับสนุน</a:t>
            </a:r>
            <a:r>
              <a:rPr lang="th-TH" sz="2800" b="1" spc="-120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่งเสริมถึง</a:t>
            </a:r>
            <a:r>
              <a:rPr lang="th-TH" sz="2800" b="1" spc="-120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ตัวบุคคล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5. โครงการ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ติมความสุขให้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ำลังพล ทร.เช่น 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ให้กู้เงิน ที่สามารถแก้ไขปัญหาความเดือนร้อนได้อย่างถาวร มีการติดตามผลกลุ่มที่เข้าร่วมโครงการเพื่อให้เกิดความ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ยั่งยืน</a:t>
            </a:r>
            <a:endParaRPr lang="th-TH" sz="28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705600" y="11668"/>
            <a:ext cx="1475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rgbClr val="0070C0"/>
                </a:solidFill>
              </a:rPr>
              <a:t>Workshop#3</a:t>
            </a:r>
            <a:endParaRPr lang="en-US" u="sng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457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0" y="9144"/>
            <a:ext cx="9067800" cy="752856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dirty="0" smtClean="0">
                <a:solidFill>
                  <a:schemeClr val="tx1"/>
                </a:solidFill>
              </a:rPr>
              <a:t>Flagships Project </a:t>
            </a:r>
            <a:endParaRPr lang="en-US" sz="4000" u="sng" dirty="0">
              <a:solidFill>
                <a:srgbClr val="0070C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6D83A46-A5C8-4ADC-A7FC-C178C77114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096" y="523899"/>
            <a:ext cx="8802598" cy="63401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14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6. Project </a:t>
            </a:r>
            <a:r>
              <a:rPr lang="en-US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3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สุข</a:t>
            </a:r>
          </a:p>
          <a:p>
            <a:pPr marL="1146175" lvl="2" indent="-2317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ข้าราชการ ครอบครัว ผู้มีส่วนได้ส่วน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สีย มีความสุข</a:t>
            </a:r>
          </a:p>
          <a:p>
            <a:pPr marL="1146175" lvl="2" indent="-2317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วัสดิการ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ีความสมดุล อยู่ได้อย่าง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ยั่งยืน</a:t>
            </a:r>
          </a:p>
          <a:p>
            <a:pPr marL="1146175" lvl="2" indent="-2317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ทร.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ในภาพรวมได้ประโยชน์และมีภาคลักษณ์ที่ดีต่อประชาชน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7. โครงการ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ัฒนาความรู้บุคลากรในองค์กรสู่โลกอนาคต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8. พัฒนา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คนในองค์กรให้มีจิตสำนึกในหน้าที่การงาน 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19. เปลี่ยน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ภาพความเฉื่อยของงานเก่าๆ ที่อยู่ในตัวคนให้เป็นงานที่เร้าใจ สนุก ตื่นเต้น (</a:t>
            </a:r>
            <a:r>
              <a:rPr lang="en-US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Stop apart start a new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0. สร้าง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จิตอาสาของพนักงานให้มีคุณธรรม จริยธรรม ซื่อสัตย์สุจริตในหน้าที่การงาน และต่อองค์กร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1. การ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ปรับตัวที่พร้อมรับการเปลี่ยนแปลง (</a:t>
            </a:r>
            <a:r>
              <a:rPr lang="en-US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hange) 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ำสิ่งที่ทันสมัยมาปรับเปลี่ยนสิ่งที่ล้าสมัย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22. Challenge </a:t>
            </a:r>
            <a:r>
              <a:rPr lang="th-TH" sz="28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ปรับเปลี่ยนกิจการร้านค้าเดิมด้วยการสร้างใหม่ เพื่อรองรับการแข่งขันที่สูงในพื้นที่ภายใต้คำว่าสวัสดิการเพื่อข้าราชการและ</a:t>
            </a:r>
            <a:r>
              <a:rPr lang="th-TH" sz="2800" b="1" dirty="0" smtClean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ประชาชน</a:t>
            </a:r>
            <a:endParaRPr lang="th-TH" sz="28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724660" y="200906"/>
            <a:ext cx="1475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rgbClr val="0070C0"/>
                </a:solidFill>
              </a:rPr>
              <a:t>Workshop#3</a:t>
            </a:r>
            <a:endParaRPr lang="en-US" u="sng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670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"/>
          <p:cNvGrpSpPr>
            <a:grpSpLocks/>
          </p:cNvGrpSpPr>
          <p:nvPr/>
        </p:nvGrpSpPr>
        <p:grpSpPr bwMode="auto">
          <a:xfrm>
            <a:off x="3469075" y="2937484"/>
            <a:ext cx="2143125" cy="2143125"/>
            <a:chOff x="2032000" y="0"/>
            <a:chExt cx="4064000" cy="4064000"/>
          </a:xfrm>
        </p:grpSpPr>
        <p:sp>
          <p:nvSpPr>
            <p:cNvPr id="5" name="Oval 4"/>
            <p:cNvSpPr/>
            <p:nvPr/>
          </p:nvSpPr>
          <p:spPr>
            <a:xfrm>
              <a:off x="2032000" y="0"/>
              <a:ext cx="4064000" cy="4064000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alpha val="5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6" name="Oval 4">
              <a:hlinkClick r:id="" action="ppaction://noaction"/>
            </p:cNvPr>
            <p:cNvSpPr/>
            <p:nvPr/>
          </p:nvSpPr>
          <p:spPr>
            <a:xfrm>
              <a:off x="2528701" y="604050"/>
              <a:ext cx="3115753" cy="287368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lIns="82550" tIns="82550" rIns="82550" bIns="82550" spcCol="1270" anchor="ctr">
              <a:scene3d>
                <a:camera prst="orthographicFront"/>
                <a:lightRig rig="flat" dir="tl">
                  <a:rot lat="0" lon="0" rev="6600000"/>
                </a:lightRig>
              </a:scene3d>
              <a:sp3d extrusionH="25400" contourW="8890">
                <a:bevelT w="38100" h="31750"/>
                <a:contourClr>
                  <a:schemeClr val="accent2">
                    <a:shade val="75000"/>
                  </a:schemeClr>
                </a:contourClr>
              </a:sp3d>
            </a:bodyPr>
            <a:lstStyle/>
            <a:p>
              <a:pPr algn="ctr" defTabSz="2889250">
                <a:lnSpc>
                  <a:spcPct val="50000"/>
                </a:lnSpc>
                <a:spcAft>
                  <a:spcPct val="35000"/>
                </a:spcAft>
                <a:defRPr/>
              </a:pPr>
              <a:r>
                <a:rPr lang="en-US" sz="3200" dirty="0">
                  <a:ln w="11430"/>
                  <a:gradFill>
                    <a:gsLst>
                      <a:gs pos="0">
                        <a:srgbClr val="FFC000"/>
                      </a:gs>
                      <a:gs pos="75000">
                        <a:srgbClr val="FFC000"/>
                      </a:gs>
                      <a:gs pos="100000">
                        <a:srgbClr val="FF6600"/>
                      </a:gs>
                    </a:gsLst>
                    <a:lin ang="5400000"/>
                  </a:gra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  <a:cs typeface="Arial" pitchFamily="34" charset="0"/>
                </a:rPr>
                <a:t>Vision</a:t>
              </a:r>
              <a:endParaRPr lang="th-TH" sz="3200" dirty="0">
                <a:ln w="11430"/>
                <a:gradFill>
                  <a:gsLst>
                    <a:gs pos="0">
                      <a:srgbClr val="FFC000"/>
                    </a:gs>
                    <a:gs pos="75000">
                      <a:srgbClr val="FFC000"/>
                    </a:gs>
                    <a:gs pos="100000">
                      <a:srgbClr val="FF6600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endParaRPr>
            </a:p>
          </p:txBody>
        </p:sp>
      </p:grpSp>
      <p:grpSp>
        <p:nvGrpSpPr>
          <p:cNvPr id="7" name="Group 9"/>
          <p:cNvGrpSpPr>
            <a:grpSpLocks/>
          </p:cNvGrpSpPr>
          <p:nvPr/>
        </p:nvGrpSpPr>
        <p:grpSpPr bwMode="auto">
          <a:xfrm>
            <a:off x="3646875" y="1642099"/>
            <a:ext cx="1787525" cy="1785937"/>
            <a:chOff x="2249847" y="184036"/>
            <a:chExt cx="1571635" cy="1571635"/>
          </a:xfrm>
        </p:grpSpPr>
        <p:sp>
          <p:nvSpPr>
            <p:cNvPr id="8" name="Oval 7"/>
            <p:cNvSpPr/>
            <p:nvPr/>
          </p:nvSpPr>
          <p:spPr>
            <a:xfrm>
              <a:off x="2249847" y="184036"/>
              <a:ext cx="1571635" cy="1571635"/>
            </a:xfrm>
            <a:prstGeom prst="ellipse">
              <a:avLst/>
            </a:prstGeom>
            <a:gradFill>
              <a:gsLst>
                <a:gs pos="0">
                  <a:schemeClr val="accent2">
                    <a:tint val="73000"/>
                    <a:satMod val="150000"/>
                    <a:alpha val="50000"/>
                  </a:schemeClr>
                </a:gs>
                <a:gs pos="25000">
                  <a:schemeClr val="accent2">
                    <a:tint val="96000"/>
                    <a:shade val="80000"/>
                    <a:satMod val="105000"/>
                    <a:alpha val="50000"/>
                  </a:schemeClr>
                </a:gs>
                <a:gs pos="38000">
                  <a:schemeClr val="accent2">
                    <a:tint val="96000"/>
                    <a:shade val="59000"/>
                    <a:satMod val="120000"/>
                    <a:alpha val="50000"/>
                  </a:schemeClr>
                </a:gs>
                <a:gs pos="55000">
                  <a:schemeClr val="accent2">
                    <a:shade val="57000"/>
                    <a:satMod val="120000"/>
                    <a:alpha val="50000"/>
                  </a:schemeClr>
                </a:gs>
                <a:gs pos="80000">
                  <a:schemeClr val="accent2">
                    <a:shade val="56000"/>
                    <a:satMod val="145000"/>
                    <a:alpha val="50000"/>
                  </a:schemeClr>
                </a:gs>
                <a:gs pos="88000">
                  <a:schemeClr val="accent2">
                    <a:shade val="63000"/>
                    <a:satMod val="160000"/>
                    <a:alpha val="50000"/>
                  </a:schemeClr>
                </a:gs>
                <a:gs pos="100000">
                  <a:schemeClr val="accent2">
                    <a:tint val="99555"/>
                    <a:satMod val="155000"/>
                    <a:alpha val="50000"/>
                  </a:schemeClr>
                </a:gs>
              </a:gsLst>
            </a:gra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</p:sp>
        <p:sp>
          <p:nvSpPr>
            <p:cNvPr id="9" name="Oval 4"/>
            <p:cNvSpPr/>
            <p:nvPr/>
          </p:nvSpPr>
          <p:spPr>
            <a:xfrm>
              <a:off x="2480008" y="414196"/>
              <a:ext cx="1111313" cy="11113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lIns="30480" tIns="30480" rIns="30480" bIns="30480" spcCol="1270" anchor="ctr">
              <a:scene3d>
                <a:camera prst="orthographicFront"/>
                <a:lightRig rig="glow" dir="tl">
                  <a:rot lat="0" lon="0" rev="5400000"/>
                </a:lightRig>
              </a:scene3d>
              <a:sp3d contourW="12700">
                <a:bevelT w="25400" h="25400"/>
                <a:contourClr>
                  <a:schemeClr val="accent6">
                    <a:shade val="73000"/>
                  </a:schemeClr>
                </a:contourClr>
              </a:sp3d>
            </a:bodyPr>
            <a:lstStyle/>
            <a:p>
              <a:pPr algn="ctr" eaLnBrk="0" hangingPunct="0">
                <a:defRPr/>
              </a:pPr>
              <a:r>
                <a:rPr lang="en-US" sz="2000" i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Core</a:t>
              </a:r>
            </a:p>
            <a:p>
              <a:pPr algn="ctr" eaLnBrk="0" hangingPunct="0">
                <a:defRPr/>
              </a:pPr>
              <a:r>
                <a:rPr lang="en-US" sz="2000" i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Values</a:t>
              </a:r>
              <a:endParaRPr lang="th-TH" sz="2000" i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endParaRPr>
            </a:p>
          </p:txBody>
        </p:sp>
      </p:grpSp>
      <p:grpSp>
        <p:nvGrpSpPr>
          <p:cNvPr id="10" name="Group 15"/>
          <p:cNvGrpSpPr>
            <a:grpSpLocks/>
          </p:cNvGrpSpPr>
          <p:nvPr/>
        </p:nvGrpSpPr>
        <p:grpSpPr bwMode="auto">
          <a:xfrm>
            <a:off x="2183200" y="3642349"/>
            <a:ext cx="1785937" cy="1785937"/>
            <a:chOff x="2249847" y="184036"/>
            <a:chExt cx="1571635" cy="1571635"/>
          </a:xfrm>
        </p:grpSpPr>
        <p:sp>
          <p:nvSpPr>
            <p:cNvPr id="11" name="Oval 10"/>
            <p:cNvSpPr/>
            <p:nvPr/>
          </p:nvSpPr>
          <p:spPr>
            <a:xfrm>
              <a:off x="2249847" y="184036"/>
              <a:ext cx="1571635" cy="1571635"/>
            </a:xfrm>
            <a:prstGeom prst="ellipse">
              <a:avLst/>
            </a:prstGeom>
            <a:gradFill>
              <a:gsLst>
                <a:gs pos="0">
                  <a:schemeClr val="accent5">
                    <a:tint val="73000"/>
                    <a:satMod val="150000"/>
                    <a:alpha val="50000"/>
                  </a:schemeClr>
                </a:gs>
                <a:gs pos="25000">
                  <a:schemeClr val="accent5">
                    <a:tint val="96000"/>
                    <a:shade val="80000"/>
                    <a:satMod val="105000"/>
                    <a:alpha val="50000"/>
                  </a:schemeClr>
                </a:gs>
                <a:gs pos="38000">
                  <a:schemeClr val="accent5">
                    <a:tint val="96000"/>
                    <a:shade val="59000"/>
                    <a:satMod val="120000"/>
                    <a:alpha val="50000"/>
                  </a:schemeClr>
                </a:gs>
                <a:gs pos="55000">
                  <a:schemeClr val="accent5">
                    <a:shade val="57000"/>
                    <a:satMod val="120000"/>
                    <a:alpha val="50000"/>
                  </a:schemeClr>
                </a:gs>
                <a:gs pos="80000">
                  <a:schemeClr val="accent5">
                    <a:shade val="56000"/>
                    <a:satMod val="145000"/>
                    <a:alpha val="50000"/>
                  </a:schemeClr>
                </a:gs>
                <a:gs pos="88000">
                  <a:schemeClr val="accent5">
                    <a:shade val="63000"/>
                    <a:satMod val="160000"/>
                    <a:alpha val="50000"/>
                  </a:schemeClr>
                </a:gs>
                <a:gs pos="100000">
                  <a:schemeClr val="accent5">
                    <a:tint val="99555"/>
                    <a:satMod val="155000"/>
                    <a:alpha val="50000"/>
                  </a:schemeClr>
                </a:gs>
              </a:gsLst>
            </a:gradFill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</p:sp>
        <p:sp>
          <p:nvSpPr>
            <p:cNvPr id="12" name="Oval 4">
              <a:hlinkClick r:id="" action="ppaction://noaction"/>
            </p:cNvPr>
            <p:cNvSpPr/>
            <p:nvPr/>
          </p:nvSpPr>
          <p:spPr>
            <a:xfrm>
              <a:off x="2375579" y="424769"/>
              <a:ext cx="1320172" cy="11113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lIns="30480" tIns="30480" rIns="30480" bIns="30480" spcCol="1270" anchor="ctr">
              <a:scene3d>
                <a:camera prst="orthographicFront"/>
                <a:lightRig rig="glow" dir="tl">
                  <a:rot lat="0" lon="0" rev="5400000"/>
                </a:lightRig>
              </a:scene3d>
              <a:sp3d contourW="12700">
                <a:bevelT w="25400" h="25400"/>
                <a:contourClr>
                  <a:schemeClr val="accent6">
                    <a:shade val="73000"/>
                  </a:schemeClr>
                </a:contourClr>
              </a:sp3d>
            </a:bodyPr>
            <a:lstStyle/>
            <a:p>
              <a:pPr algn="ctr" eaLnBrk="0" hangingPunct="0">
                <a:defRPr/>
              </a:pPr>
              <a:r>
                <a:rPr lang="en-US" sz="2000" i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Core</a:t>
              </a:r>
            </a:p>
            <a:p>
              <a:pPr algn="ctr" eaLnBrk="0" hangingPunct="0">
                <a:defRPr/>
              </a:pPr>
              <a:r>
                <a:rPr lang="en-US" sz="2000" i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Purpose</a:t>
              </a:r>
              <a:endParaRPr lang="th-TH" sz="2000" dirty="0">
                <a:solidFill>
                  <a:srgbClr val="CC00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endParaRPr>
            </a:p>
          </p:txBody>
        </p:sp>
      </p:grpSp>
      <p:grpSp>
        <p:nvGrpSpPr>
          <p:cNvPr id="13" name="Group 18"/>
          <p:cNvGrpSpPr>
            <a:grpSpLocks/>
          </p:cNvGrpSpPr>
          <p:nvPr/>
        </p:nvGrpSpPr>
        <p:grpSpPr bwMode="auto">
          <a:xfrm>
            <a:off x="5112114" y="3642349"/>
            <a:ext cx="1785938" cy="1785937"/>
            <a:chOff x="2249847" y="184036"/>
            <a:chExt cx="1571635" cy="1571635"/>
          </a:xfrm>
        </p:grpSpPr>
        <p:sp>
          <p:nvSpPr>
            <p:cNvPr id="14" name="Oval 13"/>
            <p:cNvSpPr/>
            <p:nvPr/>
          </p:nvSpPr>
          <p:spPr>
            <a:xfrm>
              <a:off x="2249847" y="184036"/>
              <a:ext cx="1571635" cy="1571635"/>
            </a:xfrm>
            <a:prstGeom prst="ellipse">
              <a:avLst/>
            </a:prstGeom>
            <a:gradFill>
              <a:gsLst>
                <a:gs pos="0">
                  <a:schemeClr val="accent1">
                    <a:tint val="73000"/>
                    <a:satMod val="150000"/>
                    <a:alpha val="50000"/>
                  </a:schemeClr>
                </a:gs>
                <a:gs pos="25000">
                  <a:schemeClr val="accent1">
                    <a:tint val="96000"/>
                    <a:shade val="80000"/>
                    <a:satMod val="105000"/>
                    <a:alpha val="50000"/>
                  </a:schemeClr>
                </a:gs>
                <a:gs pos="38000">
                  <a:schemeClr val="accent1">
                    <a:tint val="96000"/>
                    <a:shade val="59000"/>
                    <a:satMod val="120000"/>
                    <a:alpha val="50000"/>
                  </a:schemeClr>
                </a:gs>
                <a:gs pos="55000">
                  <a:schemeClr val="accent1">
                    <a:shade val="57000"/>
                    <a:satMod val="120000"/>
                    <a:alpha val="50000"/>
                  </a:schemeClr>
                </a:gs>
                <a:gs pos="80000">
                  <a:schemeClr val="accent1">
                    <a:shade val="56000"/>
                    <a:satMod val="145000"/>
                    <a:alpha val="50000"/>
                  </a:schemeClr>
                </a:gs>
                <a:gs pos="88000">
                  <a:schemeClr val="accent1">
                    <a:shade val="63000"/>
                    <a:satMod val="160000"/>
                    <a:alpha val="50000"/>
                  </a:schemeClr>
                </a:gs>
                <a:gs pos="100000">
                  <a:schemeClr val="accent1">
                    <a:tint val="99555"/>
                    <a:satMod val="155000"/>
                    <a:alpha val="50000"/>
                  </a:schemeClr>
                </a:gs>
              </a:gsLst>
            </a:gra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4">
              <a:hlinkClick r:id="" action="ppaction://noaction"/>
            </p:cNvPr>
            <p:cNvSpPr/>
            <p:nvPr/>
          </p:nvSpPr>
          <p:spPr>
            <a:xfrm>
              <a:off x="2480008" y="414196"/>
              <a:ext cx="1111313" cy="11113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lIns="30480" tIns="30480" rIns="30480" bIns="30480" spcCol="1270" anchor="ctr">
              <a:scene3d>
                <a:camera prst="orthographicFront"/>
                <a:lightRig rig="glow" dir="tl">
                  <a:rot lat="0" lon="0" rev="5400000"/>
                </a:lightRig>
              </a:scene3d>
              <a:sp3d contourW="12700">
                <a:bevelT w="25400" h="25400"/>
                <a:contourClr>
                  <a:schemeClr val="accent6">
                    <a:shade val="73000"/>
                  </a:schemeClr>
                </a:contourClr>
              </a:sp3d>
            </a:bodyPr>
            <a:lstStyle/>
            <a:p>
              <a:pPr algn="ctr" eaLnBrk="0" hangingPunct="0">
                <a:defRPr/>
              </a:pPr>
              <a:r>
                <a:rPr lang="en-US" sz="2000" i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Visionary</a:t>
              </a:r>
            </a:p>
            <a:p>
              <a:pPr algn="ctr" eaLnBrk="0" hangingPunct="0">
                <a:defRPr/>
              </a:pPr>
              <a:r>
                <a:rPr lang="en-US" sz="2000" i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Goal</a:t>
              </a:r>
              <a:endParaRPr lang="th-TH" sz="2000" i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endParaRPr>
            </a:p>
          </p:txBody>
        </p:sp>
      </p:grpSp>
      <p:sp>
        <p:nvSpPr>
          <p:cNvPr id="16" name="Oval 4">
            <a:hlinkClick r:id="" action="ppaction://noaction"/>
          </p:cNvPr>
          <p:cNvSpPr/>
          <p:nvPr/>
        </p:nvSpPr>
        <p:spPr bwMode="auto">
          <a:xfrm>
            <a:off x="3714888" y="3255995"/>
            <a:ext cx="1643073" cy="151541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lIns="82550" tIns="82550" rIns="82550" bIns="82550" spcCol="1270" anchor="ctr"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defTabSz="2889250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sz="3200" dirty="0">
                <a:ln w="11430"/>
                <a:gradFill>
                  <a:gsLst>
                    <a:gs pos="0">
                      <a:srgbClr val="FFC000"/>
                    </a:gs>
                    <a:gs pos="75000">
                      <a:srgbClr val="FFC000"/>
                    </a:gs>
                    <a:gs pos="100000">
                      <a:srgbClr val="FF6600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cs typeface="Arial" pitchFamily="34" charset="0"/>
              </a:rPr>
              <a:t>Vision</a:t>
            </a:r>
            <a:endParaRPr lang="th-TH" sz="3200" dirty="0">
              <a:ln w="11430"/>
              <a:gradFill>
                <a:gsLst>
                  <a:gs pos="0">
                    <a:srgbClr val="FFC000"/>
                  </a:gs>
                  <a:gs pos="75000">
                    <a:srgbClr val="FFC000"/>
                  </a:gs>
                  <a:gs pos="100000">
                    <a:srgbClr val="FF6600"/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17" name="Oval 4">
            <a:hlinkClick r:id="" action="ppaction://noaction"/>
          </p:cNvPr>
          <p:cNvSpPr/>
          <p:nvPr/>
        </p:nvSpPr>
        <p:spPr bwMode="auto">
          <a:xfrm>
            <a:off x="3728528" y="3260111"/>
            <a:ext cx="1643073" cy="151541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lIns="82550" tIns="82550" rIns="82550" bIns="82550" spcCol="1270" anchor="ctr"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defTabSz="2889250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sz="3200" dirty="0">
                <a:ln w="11430"/>
                <a:gradFill>
                  <a:gsLst>
                    <a:gs pos="0">
                      <a:srgbClr val="FFC000"/>
                    </a:gs>
                    <a:gs pos="75000">
                      <a:srgbClr val="FFC000"/>
                    </a:gs>
                    <a:gs pos="100000">
                      <a:srgbClr val="FF6600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cs typeface="Arial" pitchFamily="34" charset="0"/>
              </a:rPr>
              <a:t>Vision</a:t>
            </a:r>
            <a:endParaRPr lang="th-TH" sz="3200" dirty="0">
              <a:ln w="11430"/>
              <a:gradFill>
                <a:gsLst>
                  <a:gs pos="0">
                    <a:srgbClr val="FFC000"/>
                  </a:gs>
                  <a:gs pos="75000">
                    <a:srgbClr val="FFC000"/>
                  </a:gs>
                  <a:gs pos="100000">
                    <a:srgbClr val="FF6600"/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18" name="Oval 4">
            <a:hlinkClick r:id="" action="ppaction://noaction"/>
          </p:cNvPr>
          <p:cNvSpPr/>
          <p:nvPr/>
        </p:nvSpPr>
        <p:spPr bwMode="auto">
          <a:xfrm>
            <a:off x="3724632" y="3260111"/>
            <a:ext cx="1643073" cy="151541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lIns="82550" tIns="82550" rIns="82550" bIns="82550" spcCol="1270" anchor="ctr"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defTabSz="2889250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sz="3200" dirty="0">
                <a:ln w="11430"/>
                <a:gradFill>
                  <a:gsLst>
                    <a:gs pos="0">
                      <a:srgbClr val="FFC000"/>
                    </a:gs>
                    <a:gs pos="75000">
                      <a:srgbClr val="FFC000"/>
                    </a:gs>
                    <a:gs pos="100000">
                      <a:srgbClr val="FF6600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cs typeface="Arial" pitchFamily="34" charset="0"/>
              </a:rPr>
              <a:t>Vision</a:t>
            </a:r>
            <a:endParaRPr lang="th-TH" sz="3200" dirty="0">
              <a:ln w="11430"/>
              <a:gradFill>
                <a:gsLst>
                  <a:gs pos="0">
                    <a:srgbClr val="FFC000"/>
                  </a:gs>
                  <a:gs pos="75000">
                    <a:srgbClr val="FFC000"/>
                  </a:gs>
                  <a:gs pos="100000">
                    <a:srgbClr val="FF6600"/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513719" y="5511558"/>
            <a:ext cx="2916183" cy="8104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lnSpc>
                <a:spcPts val="2800"/>
              </a:lnSpc>
              <a:buFont typeface="Arial" panose="020B0604020202020204" pitchFamily="34" charset="0"/>
              <a:buChar char="•"/>
              <a:defRPr/>
            </a:pPr>
            <a:r>
              <a:rPr lang="th-TH" sz="2400" b="1" dirty="0">
                <a:solidFill>
                  <a:prstClr val="black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เหตุผลอันควรอยู่ขององค์กร</a:t>
            </a:r>
          </a:p>
          <a:p>
            <a:pPr marL="285750" indent="-285750">
              <a:lnSpc>
                <a:spcPts val="2800"/>
              </a:lnSpc>
              <a:buFont typeface="Arial" panose="020B0604020202020204" pitchFamily="34" charset="0"/>
              <a:buChar char="•"/>
              <a:defRPr/>
            </a:pPr>
            <a:r>
              <a:rPr lang="th-TH" sz="2400" b="1" dirty="0">
                <a:solidFill>
                  <a:prstClr val="black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บทบาทหน้าที่หลักขององค์กร</a:t>
            </a:r>
            <a:endParaRPr lang="en-US" sz="2400" dirty="0">
              <a:solidFill>
                <a:prstClr val="black"/>
              </a:solidFill>
              <a:latin typeface="TH Sarabun New" panose="020B0500040200020003" pitchFamily="34" charset="-34"/>
              <a:cs typeface="TH Sarabun New" panose="020B0500040200020003" pitchFamily="34" charset="-34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971809" y="278253"/>
            <a:ext cx="366470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ts val="2800"/>
              </a:lnSpc>
              <a:buFont typeface="Arial" panose="020B0604020202020204" pitchFamily="34" charset="0"/>
              <a:buChar char="•"/>
              <a:defRPr/>
            </a:pPr>
            <a:r>
              <a:rPr lang="th-TH" sz="2400" b="1" dirty="0">
                <a:solidFill>
                  <a:prstClr val="black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คุณค่าที่โดดเด่นในสิ่งที่ทำ</a:t>
            </a:r>
          </a:p>
          <a:p>
            <a:pPr marL="285750" indent="-285750">
              <a:lnSpc>
                <a:spcPts val="2800"/>
              </a:lnSpc>
              <a:buFont typeface="Arial" panose="020B0604020202020204" pitchFamily="34" charset="0"/>
              <a:buChar char="•"/>
              <a:defRPr/>
            </a:pPr>
            <a:r>
              <a:rPr lang="th-TH" sz="2400" b="1" dirty="0">
                <a:solidFill>
                  <a:prstClr val="black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คุณค่าที่ประชาคมยึดมั่น</a:t>
            </a:r>
          </a:p>
          <a:p>
            <a:pPr marL="285750" indent="-285750">
              <a:lnSpc>
                <a:spcPts val="2800"/>
              </a:lnSpc>
              <a:buFont typeface="Arial" panose="020B0604020202020204" pitchFamily="34" charset="0"/>
              <a:buChar char="•"/>
              <a:defRPr/>
            </a:pPr>
            <a:r>
              <a:rPr lang="th-TH" sz="2400" b="1" dirty="0">
                <a:solidFill>
                  <a:prstClr val="black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คุณค่าที่สอดคล้องกับความสามารถ</a:t>
            </a:r>
            <a:endParaRPr lang="en-US" sz="2400" b="1" dirty="0">
              <a:solidFill>
                <a:prstClr val="black"/>
              </a:solidFill>
              <a:latin typeface="TH Sarabun New" panose="020B0500040200020003" pitchFamily="34" charset="-34"/>
              <a:cs typeface="TH Sarabun New" panose="020B0500040200020003" pitchFamily="34" charset="-34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257800" y="5486401"/>
            <a:ext cx="2561920" cy="8104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2800"/>
              </a:lnSpc>
              <a:defRPr/>
            </a:pPr>
            <a:r>
              <a:rPr lang="th-TH" sz="2400" b="1" dirty="0">
                <a:solidFill>
                  <a:prstClr val="black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ทิศทาง ตำแหน่ง และ</a:t>
            </a:r>
          </a:p>
          <a:p>
            <a:pPr algn="ctr">
              <a:lnSpc>
                <a:spcPts val="2800"/>
              </a:lnSpc>
              <a:defRPr/>
            </a:pPr>
            <a:r>
              <a:rPr lang="th-TH" sz="2400" b="1" dirty="0">
                <a:solidFill>
                  <a:prstClr val="black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เป้าหมายปลายทางระยะยาว</a:t>
            </a:r>
            <a:endParaRPr lang="en-US" sz="2400" b="1" dirty="0">
              <a:solidFill>
                <a:prstClr val="black"/>
              </a:solidFill>
              <a:latin typeface="TH Sarabun New" panose="020B0500040200020003" pitchFamily="34" charset="-34"/>
              <a:cs typeface="TH Sarabun New" panose="020B05000402000200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502575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48 0.00602 L -0.12986 0.0805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300" y="3700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-1.48148E-6 L 0.0026 -0.14699 " pathEditMode="relative" ptsTypes="AA">
                                      <p:cBhvr>
                                        <p:cTn id="29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2.96296E-6 L 0.13524 0.07453 " pathEditMode="relative" rAng="0" ptsTypes="AA">
                                      <p:cBhvr>
                                        <p:cTn id="43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800" y="370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BEC4AB7-1BB9-49CE-8842-E2D8182EE8F3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ound Diagonal Corner Rectangle 6"/>
          <p:cNvSpPr/>
          <p:nvPr/>
        </p:nvSpPr>
        <p:spPr>
          <a:xfrm>
            <a:off x="533400" y="2362200"/>
            <a:ext cx="8001000" cy="3729820"/>
          </a:xfrm>
          <a:prstGeom prst="round2Diag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th-TH" sz="4400" b="1" dirty="0" smtClean="0">
                <a:solidFill>
                  <a:prstClr val="black"/>
                </a:solidFill>
                <a:cs typeface="Angsana New"/>
              </a:rPr>
              <a:t>เป็น</a:t>
            </a:r>
            <a:r>
              <a:rPr lang="th-TH" sz="4400" b="1" u="sng" dirty="0" smtClean="0">
                <a:solidFill>
                  <a:srgbClr val="0070C0"/>
                </a:solidFill>
                <a:cs typeface="Angsana New"/>
              </a:rPr>
              <a:t>องค์กรชั้นนำ</a:t>
            </a:r>
            <a:r>
              <a:rPr lang="th-TH" sz="4400" b="1" dirty="0" smtClean="0">
                <a:solidFill>
                  <a:prstClr val="black"/>
                </a:solidFill>
                <a:cs typeface="Angsana New"/>
              </a:rPr>
              <a:t>ที่มีการ</a:t>
            </a:r>
            <a:r>
              <a:rPr lang="th-TH" sz="4400" b="1" u="sng" dirty="0" smtClean="0">
                <a:solidFill>
                  <a:srgbClr val="0070C0"/>
                </a:solidFill>
                <a:cs typeface="Angsana New"/>
              </a:rPr>
              <a:t>บริหารจัดการสวัสดิการ</a:t>
            </a:r>
            <a:r>
              <a:rPr lang="th-TH" sz="4400" b="1" dirty="0" smtClean="0">
                <a:solidFill>
                  <a:prstClr val="black"/>
                </a:solidFill>
                <a:cs typeface="Angsana New"/>
              </a:rPr>
              <a:t>ที่</a:t>
            </a:r>
            <a:r>
              <a:rPr lang="th-TH" sz="4400" b="1" u="sng" dirty="0" smtClean="0">
                <a:solidFill>
                  <a:srgbClr val="0070C0"/>
                </a:solidFill>
                <a:cs typeface="Angsana New"/>
              </a:rPr>
              <a:t>มีประสิทธิภาพและยั่งยืน </a:t>
            </a:r>
            <a:r>
              <a:rPr lang="th-TH" sz="4400" b="1" dirty="0" smtClean="0">
                <a:solidFill>
                  <a:prstClr val="black"/>
                </a:solidFill>
                <a:cs typeface="Angsana New"/>
              </a:rPr>
              <a:t>อย่างโปร่งใสด้วยหลักธรรมาภิบาล โดย</a:t>
            </a:r>
            <a:r>
              <a:rPr lang="th-TH" sz="4400" b="1" u="sng" dirty="0" smtClean="0">
                <a:solidFill>
                  <a:srgbClr val="0070C0"/>
                </a:solidFill>
                <a:cs typeface="Angsana New"/>
              </a:rPr>
              <a:t>ยึดถือกำลังพลและครอบครัวเป็นศูนย์กลาง</a:t>
            </a:r>
            <a:endParaRPr lang="th-TH" sz="4400" b="1" u="sng" dirty="0">
              <a:solidFill>
                <a:srgbClr val="0070C0"/>
              </a:solidFill>
              <a:latin typeface="TH SarabunPSK" panose="020B0500040200020003" pitchFamily="34" charset="-34"/>
              <a:cs typeface="Angsana New"/>
            </a:endParaRPr>
          </a:p>
        </p:txBody>
      </p:sp>
      <p:pic>
        <p:nvPicPr>
          <p:cNvPr id="10" name="Picture 3" descr="\\psf\Home\Downloads\ภาพประกอบ slide\Vision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270596"/>
            <a:ext cx="4114800" cy="1710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2667830" y="1828800"/>
            <a:ext cx="365677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การสวัสดิการกองทัพเรือ </a:t>
            </a:r>
            <a:endParaRPr lang="en-US" sz="4000" b="1" dirty="0">
              <a:solidFill>
                <a:prstClr val="black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209800" y="2536686"/>
            <a:ext cx="1371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n-US" i="1" dirty="0">
                <a:solidFill>
                  <a:srgbClr val="F79646">
                    <a:lumMod val="75000"/>
                  </a:srgbClr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Core Values</a:t>
            </a:r>
            <a:endParaRPr lang="th-TH" i="1" dirty="0">
              <a:solidFill>
                <a:srgbClr val="F79646">
                  <a:lumMod val="75000"/>
                </a:srgbClr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676900" y="2590800"/>
            <a:ext cx="1752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n-US" i="1" dirty="0">
                <a:solidFill>
                  <a:srgbClr val="F79646">
                    <a:lumMod val="75000"/>
                  </a:srgbClr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Core Purpose</a:t>
            </a:r>
            <a:endParaRPr lang="th-TH" dirty="0">
              <a:solidFill>
                <a:srgbClr val="F79646">
                  <a:lumMod val="75000"/>
                </a:srgbClr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334000" y="4876800"/>
            <a:ext cx="16002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n-US" i="1" dirty="0">
                <a:solidFill>
                  <a:srgbClr val="F79646">
                    <a:lumMod val="75000"/>
                  </a:srgbClr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Visionary Goal</a:t>
            </a:r>
            <a:endParaRPr lang="th-TH" i="1" dirty="0">
              <a:solidFill>
                <a:srgbClr val="F79646">
                  <a:lumMod val="75000"/>
                </a:srgbClr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071" y="132503"/>
            <a:ext cx="1076749" cy="2153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152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7000"/>
    </mc:Choice>
    <mc:Fallback xmlns="">
      <p:transition spd="slow" advClick="0" advTm="7000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639" y="770695"/>
            <a:ext cx="9141503" cy="6065175"/>
          </a:xfrm>
          <a:prstGeom prst="rect">
            <a:avLst/>
          </a:prstGeom>
          <a:gradFill flip="none" rotWithShape="1">
            <a:gsLst>
              <a:gs pos="100000">
                <a:srgbClr val="EFF8FF"/>
              </a:gs>
              <a:gs pos="4300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916899" y="1524000"/>
            <a:ext cx="6626901" cy="954107"/>
            <a:chOff x="205963" y="1177835"/>
            <a:chExt cx="6626901" cy="954107"/>
          </a:xfrm>
        </p:grpSpPr>
        <p:sp>
          <p:nvSpPr>
            <p:cNvPr id="8" name="TextBox 7"/>
            <p:cNvSpPr txBox="1"/>
            <p:nvPr/>
          </p:nvSpPr>
          <p:spPr>
            <a:xfrm>
              <a:off x="576929" y="1177835"/>
              <a:ext cx="6255935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h-TH" sz="2800" b="1" dirty="0">
                  <a:solidFill>
                    <a:prstClr val="black"/>
                  </a:solidFill>
                  <a:latin typeface="Angsana New" panose="02020603050405020304" pitchFamily="18" charset="-34"/>
                  <a:cs typeface="Angsana New" panose="02020603050405020304" pitchFamily="18" charset="-34"/>
                </a:rPr>
                <a:t>ปรับปรุงและพัฒนา</a:t>
              </a:r>
              <a:r>
                <a:rPr lang="th-TH" sz="2800" u="sng" dirty="0">
                  <a:solidFill>
                    <a:srgbClr val="FF0000"/>
                  </a:solidFill>
                  <a:latin typeface="Angsana New" panose="02020603050405020304" pitchFamily="18" charset="-34"/>
                  <a:cs typeface="Angsana New" panose="02020603050405020304" pitchFamily="18" charset="-34"/>
                </a:rPr>
                <a:t>คุณภาพการบริหารจัดการสวัสดิการให้มีประสิทธิภาพยั่งยืน อย่างโปร่งใส </a:t>
              </a:r>
              <a:r>
                <a:rPr lang="th-TH" sz="2800" b="1" dirty="0">
                  <a:solidFill>
                    <a:prstClr val="black"/>
                  </a:solidFill>
                  <a:latin typeface="Angsana New" panose="02020603050405020304" pitchFamily="18" charset="-34"/>
                  <a:cs typeface="Angsana New" panose="02020603050405020304" pitchFamily="18" charset="-34"/>
                </a:rPr>
                <a:t>ด้วยหลักธรรมาภิบาล </a:t>
              </a: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205963" y="1259422"/>
              <a:ext cx="5908655" cy="761963"/>
              <a:chOff x="205963" y="1259422"/>
              <a:chExt cx="5908655" cy="761963"/>
            </a:xfrm>
          </p:grpSpPr>
          <p:sp>
            <p:nvSpPr>
              <p:cNvPr id="11" name="Rounded Rectangle 10"/>
              <p:cNvSpPr/>
              <p:nvPr/>
            </p:nvSpPr>
            <p:spPr>
              <a:xfrm>
                <a:off x="344039" y="1259422"/>
                <a:ext cx="5770579" cy="761963"/>
              </a:xfrm>
              <a:prstGeom prst="roundRect">
                <a:avLst>
                  <a:gd name="adj" fmla="val 40104"/>
                </a:avLst>
              </a:prstGeom>
              <a:noFill/>
              <a:ln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b="1" dirty="0">
                  <a:solidFill>
                    <a:prstClr val="black"/>
                  </a:solidFill>
                  <a:latin typeface="Angsana New" panose="02020603050405020304" pitchFamily="18" charset="-34"/>
                  <a:cs typeface="Angsana New" panose="02020603050405020304" pitchFamily="18" charset="-34"/>
                </a:endParaRPr>
              </a:p>
            </p:txBody>
          </p:sp>
          <p:sp>
            <p:nvSpPr>
              <p:cNvPr id="12" name="Oval 11"/>
              <p:cNvSpPr/>
              <p:nvPr/>
            </p:nvSpPr>
            <p:spPr>
              <a:xfrm>
                <a:off x="205963" y="1460468"/>
                <a:ext cx="377228" cy="373493"/>
              </a:xfrm>
              <a:prstGeom prst="ellipse">
                <a:avLst/>
              </a:prstGeom>
              <a:gradFill flip="none" rotWithShape="1">
                <a:gsLst>
                  <a:gs pos="75000">
                    <a:schemeClr val="accent1"/>
                  </a:gs>
                  <a:gs pos="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>
                  <a:solidFill>
                    <a:prstClr val="white"/>
                  </a:solidFill>
                  <a:latin typeface="Angsana New" panose="02020603050405020304" pitchFamily="18" charset="-34"/>
                  <a:cs typeface="Angsana New" panose="02020603050405020304" pitchFamily="18" charset="-34"/>
                </a:endParaRP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7467600" y="1567739"/>
            <a:ext cx="1596228" cy="3882168"/>
            <a:chOff x="3770119" y="600905"/>
            <a:chExt cx="1596228" cy="3882168"/>
          </a:xfrm>
          <a:effectLst>
            <a:outerShdw blurRad="63500" sx="101000" sy="101000" algn="ctr" rotWithShape="0">
              <a:prstClr val="black">
                <a:alpha val="25000"/>
              </a:prstClr>
            </a:outerShdw>
          </a:effectLst>
        </p:grpSpPr>
        <p:grpSp>
          <p:nvGrpSpPr>
            <p:cNvPr id="14" name="Group 13"/>
            <p:cNvGrpSpPr/>
            <p:nvPr/>
          </p:nvGrpSpPr>
          <p:grpSpPr>
            <a:xfrm>
              <a:off x="3770119" y="600905"/>
              <a:ext cx="1596228" cy="3882168"/>
              <a:chOff x="6034506" y="660368"/>
              <a:chExt cx="1792219" cy="4358836"/>
            </a:xfrm>
            <a:scene3d>
              <a:camera prst="orthographicFront"/>
              <a:lightRig rig="threePt" dir="t"/>
            </a:scene3d>
          </p:grpSpPr>
          <p:sp>
            <p:nvSpPr>
              <p:cNvPr id="21" name="Rectangle 5"/>
              <p:cNvSpPr/>
              <p:nvPr/>
            </p:nvSpPr>
            <p:spPr>
              <a:xfrm>
                <a:off x="6206359" y="660368"/>
                <a:ext cx="1447870" cy="1792218"/>
              </a:xfrm>
              <a:custGeom>
                <a:avLst/>
                <a:gdLst>
                  <a:gd name="connsiteX0" fmla="*/ 872209 w 1795780"/>
                  <a:gd name="connsiteY0" fmla="*/ 3 h 2561350"/>
                  <a:gd name="connsiteX1" fmla="*/ 1086522 w 1795780"/>
                  <a:gd name="connsiteY1" fmla="*/ 286050 h 2561350"/>
                  <a:gd name="connsiteX2" fmla="*/ 1064386 w 1795780"/>
                  <a:gd name="connsiteY2" fmla="*/ 389002 h 2561350"/>
                  <a:gd name="connsiteX3" fmla="*/ 1795780 w 1795780"/>
                  <a:gd name="connsiteY3" fmla="*/ 389002 h 2561350"/>
                  <a:gd name="connsiteX4" fmla="*/ 1795780 w 1795780"/>
                  <a:gd name="connsiteY4" fmla="*/ 1063389 h 2561350"/>
                  <a:gd name="connsiteX5" fmla="*/ 1706462 w 1795780"/>
                  <a:gd name="connsiteY5" fmla="*/ 1037347 h 2561350"/>
                  <a:gd name="connsiteX6" fmla="*/ 1704082 w 1795780"/>
                  <a:gd name="connsiteY6" fmla="*/ 1487403 h 2561350"/>
                  <a:gd name="connsiteX7" fmla="*/ 1795780 w 1795780"/>
                  <a:gd name="connsiteY7" fmla="*/ 1449629 h 2561350"/>
                  <a:gd name="connsiteX8" fmla="*/ 1795780 w 1795780"/>
                  <a:gd name="connsiteY8" fmla="*/ 2167002 h 2561350"/>
                  <a:gd name="connsiteX9" fmla="*/ 1066649 w 1795780"/>
                  <a:gd name="connsiteY9" fmla="*/ 2167002 h 2561350"/>
                  <a:gd name="connsiteX10" fmla="*/ 1086522 w 1795780"/>
                  <a:gd name="connsiteY10" fmla="*/ 2275300 h 2561350"/>
                  <a:gd name="connsiteX11" fmla="*/ 636466 w 1795780"/>
                  <a:gd name="connsiteY11" fmla="*/ 2277680 h 2561350"/>
                  <a:gd name="connsiteX12" fmla="*/ 666399 w 1795780"/>
                  <a:gd name="connsiteY12" fmla="*/ 2167002 h 2561350"/>
                  <a:gd name="connsiteX13" fmla="*/ 0 w 1795780"/>
                  <a:gd name="connsiteY13" fmla="*/ 2167002 h 2561350"/>
                  <a:gd name="connsiteX14" fmla="*/ 0 w 1795780"/>
                  <a:gd name="connsiteY14" fmla="*/ 1458174 h 2561350"/>
                  <a:gd name="connsiteX15" fmla="*/ 94999 w 1795780"/>
                  <a:gd name="connsiteY15" fmla="*/ 1495354 h 2561350"/>
                  <a:gd name="connsiteX16" fmla="*/ 92619 w 1795780"/>
                  <a:gd name="connsiteY16" fmla="*/ 1045298 h 2561350"/>
                  <a:gd name="connsiteX17" fmla="*/ 0 w 1795780"/>
                  <a:gd name="connsiteY17" fmla="*/ 1071146 h 2561350"/>
                  <a:gd name="connsiteX18" fmla="*/ 0 w 1795780"/>
                  <a:gd name="connsiteY18" fmla="*/ 389002 h 2561350"/>
                  <a:gd name="connsiteX19" fmla="*/ 671370 w 1795780"/>
                  <a:gd name="connsiteY19" fmla="*/ 389002 h 2561350"/>
                  <a:gd name="connsiteX20" fmla="*/ 636466 w 1795780"/>
                  <a:gd name="connsiteY20" fmla="*/ 283670 h 2561350"/>
                  <a:gd name="connsiteX21" fmla="*/ 872209 w 1795780"/>
                  <a:gd name="connsiteY21" fmla="*/ 3 h 2561350"/>
                  <a:gd name="connsiteX0" fmla="*/ 872209 w 1795780"/>
                  <a:gd name="connsiteY0" fmla="*/ 3 h 2561350"/>
                  <a:gd name="connsiteX1" fmla="*/ 1086522 w 1795780"/>
                  <a:gd name="connsiteY1" fmla="*/ 286050 h 2561350"/>
                  <a:gd name="connsiteX2" fmla="*/ 1064386 w 1795780"/>
                  <a:gd name="connsiteY2" fmla="*/ 389002 h 2561350"/>
                  <a:gd name="connsiteX3" fmla="*/ 1795780 w 1795780"/>
                  <a:gd name="connsiteY3" fmla="*/ 389002 h 2561350"/>
                  <a:gd name="connsiteX4" fmla="*/ 1795780 w 1795780"/>
                  <a:gd name="connsiteY4" fmla="*/ 1063389 h 2561350"/>
                  <a:gd name="connsiteX5" fmla="*/ 1706462 w 1795780"/>
                  <a:gd name="connsiteY5" fmla="*/ 1037347 h 2561350"/>
                  <a:gd name="connsiteX6" fmla="*/ 1704082 w 1795780"/>
                  <a:gd name="connsiteY6" fmla="*/ 1487403 h 2561350"/>
                  <a:gd name="connsiteX7" fmla="*/ 1795780 w 1795780"/>
                  <a:gd name="connsiteY7" fmla="*/ 1449629 h 2561350"/>
                  <a:gd name="connsiteX8" fmla="*/ 1795780 w 1795780"/>
                  <a:gd name="connsiteY8" fmla="*/ 2167002 h 2561350"/>
                  <a:gd name="connsiteX9" fmla="*/ 1066649 w 1795780"/>
                  <a:gd name="connsiteY9" fmla="*/ 2167002 h 2561350"/>
                  <a:gd name="connsiteX10" fmla="*/ 1086522 w 1795780"/>
                  <a:gd name="connsiteY10" fmla="*/ 2275300 h 2561350"/>
                  <a:gd name="connsiteX11" fmla="*/ 636466 w 1795780"/>
                  <a:gd name="connsiteY11" fmla="*/ 2277680 h 2561350"/>
                  <a:gd name="connsiteX12" fmla="*/ 666399 w 1795780"/>
                  <a:gd name="connsiteY12" fmla="*/ 2167002 h 2561350"/>
                  <a:gd name="connsiteX13" fmla="*/ 0 w 1795780"/>
                  <a:gd name="connsiteY13" fmla="*/ 2167002 h 2561350"/>
                  <a:gd name="connsiteX14" fmla="*/ 0 w 1795780"/>
                  <a:gd name="connsiteY14" fmla="*/ 1458174 h 2561350"/>
                  <a:gd name="connsiteX15" fmla="*/ 94999 w 1795780"/>
                  <a:gd name="connsiteY15" fmla="*/ 1495354 h 2561350"/>
                  <a:gd name="connsiteX16" fmla="*/ 92619 w 1795780"/>
                  <a:gd name="connsiteY16" fmla="*/ 1045298 h 2561350"/>
                  <a:gd name="connsiteX17" fmla="*/ 0 w 1795780"/>
                  <a:gd name="connsiteY17" fmla="*/ 1071146 h 2561350"/>
                  <a:gd name="connsiteX18" fmla="*/ 0 w 1795780"/>
                  <a:gd name="connsiteY18" fmla="*/ 389002 h 2561350"/>
                  <a:gd name="connsiteX19" fmla="*/ 671370 w 1795780"/>
                  <a:gd name="connsiteY19" fmla="*/ 389002 h 2561350"/>
                  <a:gd name="connsiteX20" fmla="*/ 636466 w 1795780"/>
                  <a:gd name="connsiteY20" fmla="*/ 283670 h 2561350"/>
                  <a:gd name="connsiteX21" fmla="*/ 872209 w 179578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949187"/>
                  <a:gd name="connsiteY0" fmla="*/ 3 h 2561350"/>
                  <a:gd name="connsiteX1" fmla="*/ 1132942 w 1949187"/>
                  <a:gd name="connsiteY1" fmla="*/ 286050 h 2561350"/>
                  <a:gd name="connsiteX2" fmla="*/ 1110806 w 1949187"/>
                  <a:gd name="connsiteY2" fmla="*/ 389002 h 2561350"/>
                  <a:gd name="connsiteX3" fmla="*/ 1862094 w 1949187"/>
                  <a:gd name="connsiteY3" fmla="*/ 369108 h 2561350"/>
                  <a:gd name="connsiteX4" fmla="*/ 1842200 w 1949187"/>
                  <a:gd name="connsiteY4" fmla="*/ 1063389 h 2561350"/>
                  <a:gd name="connsiteX5" fmla="*/ 1752882 w 1949187"/>
                  <a:gd name="connsiteY5" fmla="*/ 1037347 h 2561350"/>
                  <a:gd name="connsiteX6" fmla="*/ 1750502 w 1949187"/>
                  <a:gd name="connsiteY6" fmla="*/ 1487403 h 2561350"/>
                  <a:gd name="connsiteX7" fmla="*/ 1842200 w 1949187"/>
                  <a:gd name="connsiteY7" fmla="*/ 1449629 h 2561350"/>
                  <a:gd name="connsiteX8" fmla="*/ 1842200 w 1949187"/>
                  <a:gd name="connsiteY8" fmla="*/ 2167002 h 2561350"/>
                  <a:gd name="connsiteX9" fmla="*/ 1113069 w 1949187"/>
                  <a:gd name="connsiteY9" fmla="*/ 2167002 h 2561350"/>
                  <a:gd name="connsiteX10" fmla="*/ 1132942 w 1949187"/>
                  <a:gd name="connsiteY10" fmla="*/ 2275300 h 2561350"/>
                  <a:gd name="connsiteX11" fmla="*/ 682886 w 1949187"/>
                  <a:gd name="connsiteY11" fmla="*/ 2277680 h 2561350"/>
                  <a:gd name="connsiteX12" fmla="*/ 712819 w 1949187"/>
                  <a:gd name="connsiteY12" fmla="*/ 2167002 h 2561350"/>
                  <a:gd name="connsiteX13" fmla="*/ 46420 w 1949187"/>
                  <a:gd name="connsiteY13" fmla="*/ 2167002 h 2561350"/>
                  <a:gd name="connsiteX14" fmla="*/ 46420 w 1949187"/>
                  <a:gd name="connsiteY14" fmla="*/ 1458174 h 2561350"/>
                  <a:gd name="connsiteX15" fmla="*/ 141419 w 1949187"/>
                  <a:gd name="connsiteY15" fmla="*/ 1495354 h 2561350"/>
                  <a:gd name="connsiteX16" fmla="*/ 139039 w 1949187"/>
                  <a:gd name="connsiteY16" fmla="*/ 1045298 h 2561350"/>
                  <a:gd name="connsiteX17" fmla="*/ 46420 w 1949187"/>
                  <a:gd name="connsiteY17" fmla="*/ 1071146 h 2561350"/>
                  <a:gd name="connsiteX18" fmla="*/ 0 w 1949187"/>
                  <a:gd name="connsiteY18" fmla="*/ 382371 h 2561350"/>
                  <a:gd name="connsiteX19" fmla="*/ 717790 w 1949187"/>
                  <a:gd name="connsiteY19" fmla="*/ 389002 h 2561350"/>
                  <a:gd name="connsiteX20" fmla="*/ 682886 w 1949187"/>
                  <a:gd name="connsiteY20" fmla="*/ 283670 h 2561350"/>
                  <a:gd name="connsiteX21" fmla="*/ 918629 w 1949187"/>
                  <a:gd name="connsiteY21" fmla="*/ 3 h 2561350"/>
                  <a:gd name="connsiteX0" fmla="*/ 918629 w 1966660"/>
                  <a:gd name="connsiteY0" fmla="*/ 3 h 2561350"/>
                  <a:gd name="connsiteX1" fmla="*/ 1132942 w 1966660"/>
                  <a:gd name="connsiteY1" fmla="*/ 286050 h 2561350"/>
                  <a:gd name="connsiteX2" fmla="*/ 1110806 w 1966660"/>
                  <a:gd name="connsiteY2" fmla="*/ 389002 h 2561350"/>
                  <a:gd name="connsiteX3" fmla="*/ 1862094 w 1966660"/>
                  <a:gd name="connsiteY3" fmla="*/ 369108 h 2561350"/>
                  <a:gd name="connsiteX4" fmla="*/ 1842200 w 1966660"/>
                  <a:gd name="connsiteY4" fmla="*/ 1063389 h 2561350"/>
                  <a:gd name="connsiteX5" fmla="*/ 1752882 w 1966660"/>
                  <a:gd name="connsiteY5" fmla="*/ 1037347 h 2561350"/>
                  <a:gd name="connsiteX6" fmla="*/ 1750502 w 1966660"/>
                  <a:gd name="connsiteY6" fmla="*/ 1487403 h 2561350"/>
                  <a:gd name="connsiteX7" fmla="*/ 1842200 w 1966660"/>
                  <a:gd name="connsiteY7" fmla="*/ 1449629 h 2561350"/>
                  <a:gd name="connsiteX8" fmla="*/ 1842200 w 1966660"/>
                  <a:gd name="connsiteY8" fmla="*/ 2167002 h 2561350"/>
                  <a:gd name="connsiteX9" fmla="*/ 1113069 w 1966660"/>
                  <a:gd name="connsiteY9" fmla="*/ 2167002 h 2561350"/>
                  <a:gd name="connsiteX10" fmla="*/ 1132942 w 1966660"/>
                  <a:gd name="connsiteY10" fmla="*/ 2275300 h 2561350"/>
                  <a:gd name="connsiteX11" fmla="*/ 682886 w 1966660"/>
                  <a:gd name="connsiteY11" fmla="*/ 2277680 h 2561350"/>
                  <a:gd name="connsiteX12" fmla="*/ 712819 w 1966660"/>
                  <a:gd name="connsiteY12" fmla="*/ 2167002 h 2561350"/>
                  <a:gd name="connsiteX13" fmla="*/ 46420 w 1966660"/>
                  <a:gd name="connsiteY13" fmla="*/ 2167002 h 2561350"/>
                  <a:gd name="connsiteX14" fmla="*/ 46420 w 1966660"/>
                  <a:gd name="connsiteY14" fmla="*/ 1458174 h 2561350"/>
                  <a:gd name="connsiteX15" fmla="*/ 141419 w 1966660"/>
                  <a:gd name="connsiteY15" fmla="*/ 1495354 h 2561350"/>
                  <a:gd name="connsiteX16" fmla="*/ 139039 w 1966660"/>
                  <a:gd name="connsiteY16" fmla="*/ 1045298 h 2561350"/>
                  <a:gd name="connsiteX17" fmla="*/ 46420 w 1966660"/>
                  <a:gd name="connsiteY17" fmla="*/ 1071146 h 2561350"/>
                  <a:gd name="connsiteX18" fmla="*/ 0 w 1966660"/>
                  <a:gd name="connsiteY18" fmla="*/ 382371 h 2561350"/>
                  <a:gd name="connsiteX19" fmla="*/ 717790 w 1966660"/>
                  <a:gd name="connsiteY19" fmla="*/ 389002 h 2561350"/>
                  <a:gd name="connsiteX20" fmla="*/ 682886 w 1966660"/>
                  <a:gd name="connsiteY20" fmla="*/ 283670 h 2561350"/>
                  <a:gd name="connsiteX21" fmla="*/ 918629 w 1966660"/>
                  <a:gd name="connsiteY21" fmla="*/ 3 h 2561350"/>
                  <a:gd name="connsiteX0" fmla="*/ 1023861 w 2071892"/>
                  <a:gd name="connsiteY0" fmla="*/ 3 h 2561350"/>
                  <a:gd name="connsiteX1" fmla="*/ 1238174 w 2071892"/>
                  <a:gd name="connsiteY1" fmla="*/ 286050 h 2561350"/>
                  <a:gd name="connsiteX2" fmla="*/ 1216038 w 2071892"/>
                  <a:gd name="connsiteY2" fmla="*/ 389002 h 2561350"/>
                  <a:gd name="connsiteX3" fmla="*/ 1967326 w 2071892"/>
                  <a:gd name="connsiteY3" fmla="*/ 369108 h 2561350"/>
                  <a:gd name="connsiteX4" fmla="*/ 1947432 w 2071892"/>
                  <a:gd name="connsiteY4" fmla="*/ 1063389 h 2561350"/>
                  <a:gd name="connsiteX5" fmla="*/ 1858114 w 2071892"/>
                  <a:gd name="connsiteY5" fmla="*/ 1037347 h 2561350"/>
                  <a:gd name="connsiteX6" fmla="*/ 1855734 w 2071892"/>
                  <a:gd name="connsiteY6" fmla="*/ 1487403 h 2561350"/>
                  <a:gd name="connsiteX7" fmla="*/ 1947432 w 2071892"/>
                  <a:gd name="connsiteY7" fmla="*/ 1449629 h 2561350"/>
                  <a:gd name="connsiteX8" fmla="*/ 1947432 w 2071892"/>
                  <a:gd name="connsiteY8" fmla="*/ 2167002 h 2561350"/>
                  <a:gd name="connsiteX9" fmla="*/ 1218301 w 2071892"/>
                  <a:gd name="connsiteY9" fmla="*/ 2167002 h 2561350"/>
                  <a:gd name="connsiteX10" fmla="*/ 1238174 w 2071892"/>
                  <a:gd name="connsiteY10" fmla="*/ 2275300 h 2561350"/>
                  <a:gd name="connsiteX11" fmla="*/ 788118 w 2071892"/>
                  <a:gd name="connsiteY11" fmla="*/ 2277680 h 2561350"/>
                  <a:gd name="connsiteX12" fmla="*/ 818051 w 2071892"/>
                  <a:gd name="connsiteY12" fmla="*/ 2167002 h 2561350"/>
                  <a:gd name="connsiteX13" fmla="*/ 151652 w 2071892"/>
                  <a:gd name="connsiteY13" fmla="*/ 2167002 h 2561350"/>
                  <a:gd name="connsiteX14" fmla="*/ 151652 w 2071892"/>
                  <a:gd name="connsiteY14" fmla="*/ 1458174 h 2561350"/>
                  <a:gd name="connsiteX15" fmla="*/ 246651 w 2071892"/>
                  <a:gd name="connsiteY15" fmla="*/ 1495354 h 2561350"/>
                  <a:gd name="connsiteX16" fmla="*/ 244271 w 2071892"/>
                  <a:gd name="connsiteY16" fmla="*/ 1045298 h 2561350"/>
                  <a:gd name="connsiteX17" fmla="*/ 151652 w 2071892"/>
                  <a:gd name="connsiteY17" fmla="*/ 1071146 h 2561350"/>
                  <a:gd name="connsiteX18" fmla="*/ 105232 w 2071892"/>
                  <a:gd name="connsiteY18" fmla="*/ 382371 h 2561350"/>
                  <a:gd name="connsiteX19" fmla="*/ 823022 w 2071892"/>
                  <a:gd name="connsiteY19" fmla="*/ 389002 h 2561350"/>
                  <a:gd name="connsiteX20" fmla="*/ 788118 w 2071892"/>
                  <a:gd name="connsiteY20" fmla="*/ 283670 h 2561350"/>
                  <a:gd name="connsiteX21" fmla="*/ 1023861 w 2071892"/>
                  <a:gd name="connsiteY21" fmla="*/ 3 h 2561350"/>
                  <a:gd name="connsiteX0" fmla="*/ 1039756 w 2087787"/>
                  <a:gd name="connsiteY0" fmla="*/ 3 h 2561350"/>
                  <a:gd name="connsiteX1" fmla="*/ 1254069 w 2087787"/>
                  <a:gd name="connsiteY1" fmla="*/ 286050 h 2561350"/>
                  <a:gd name="connsiteX2" fmla="*/ 1231933 w 2087787"/>
                  <a:gd name="connsiteY2" fmla="*/ 389002 h 2561350"/>
                  <a:gd name="connsiteX3" fmla="*/ 1983221 w 2087787"/>
                  <a:gd name="connsiteY3" fmla="*/ 369108 h 2561350"/>
                  <a:gd name="connsiteX4" fmla="*/ 1963327 w 2087787"/>
                  <a:gd name="connsiteY4" fmla="*/ 1063389 h 2561350"/>
                  <a:gd name="connsiteX5" fmla="*/ 1874009 w 2087787"/>
                  <a:gd name="connsiteY5" fmla="*/ 1037347 h 2561350"/>
                  <a:gd name="connsiteX6" fmla="*/ 1871629 w 2087787"/>
                  <a:gd name="connsiteY6" fmla="*/ 1487403 h 2561350"/>
                  <a:gd name="connsiteX7" fmla="*/ 1963327 w 2087787"/>
                  <a:gd name="connsiteY7" fmla="*/ 1449629 h 2561350"/>
                  <a:gd name="connsiteX8" fmla="*/ 1963327 w 2087787"/>
                  <a:gd name="connsiteY8" fmla="*/ 2167002 h 2561350"/>
                  <a:gd name="connsiteX9" fmla="*/ 1234196 w 2087787"/>
                  <a:gd name="connsiteY9" fmla="*/ 2167002 h 2561350"/>
                  <a:gd name="connsiteX10" fmla="*/ 1254069 w 2087787"/>
                  <a:gd name="connsiteY10" fmla="*/ 2275300 h 2561350"/>
                  <a:gd name="connsiteX11" fmla="*/ 804013 w 2087787"/>
                  <a:gd name="connsiteY11" fmla="*/ 2277680 h 2561350"/>
                  <a:gd name="connsiteX12" fmla="*/ 833946 w 2087787"/>
                  <a:gd name="connsiteY12" fmla="*/ 2167002 h 2561350"/>
                  <a:gd name="connsiteX13" fmla="*/ 167547 w 2087787"/>
                  <a:gd name="connsiteY13" fmla="*/ 2167002 h 2561350"/>
                  <a:gd name="connsiteX14" fmla="*/ 167547 w 2087787"/>
                  <a:gd name="connsiteY14" fmla="*/ 1458174 h 2561350"/>
                  <a:gd name="connsiteX15" fmla="*/ 262546 w 2087787"/>
                  <a:gd name="connsiteY15" fmla="*/ 1495354 h 2561350"/>
                  <a:gd name="connsiteX16" fmla="*/ 260166 w 2087787"/>
                  <a:gd name="connsiteY16" fmla="*/ 1045298 h 2561350"/>
                  <a:gd name="connsiteX17" fmla="*/ 167547 w 2087787"/>
                  <a:gd name="connsiteY17" fmla="*/ 1071146 h 2561350"/>
                  <a:gd name="connsiteX18" fmla="*/ 121127 w 2087787"/>
                  <a:gd name="connsiteY18" fmla="*/ 382371 h 2561350"/>
                  <a:gd name="connsiteX19" fmla="*/ 838917 w 2087787"/>
                  <a:gd name="connsiteY19" fmla="*/ 389002 h 2561350"/>
                  <a:gd name="connsiteX20" fmla="*/ 804013 w 2087787"/>
                  <a:gd name="connsiteY20" fmla="*/ 283670 h 2561350"/>
                  <a:gd name="connsiteX21" fmla="*/ 1039756 w 2087787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88885"/>
                  <a:gd name="connsiteY0" fmla="*/ 3 h 2561350"/>
                  <a:gd name="connsiteX1" fmla="*/ 1239747 w 2088885"/>
                  <a:gd name="connsiteY1" fmla="*/ 286050 h 2561350"/>
                  <a:gd name="connsiteX2" fmla="*/ 1217611 w 2088885"/>
                  <a:gd name="connsiteY2" fmla="*/ 389002 h 2561350"/>
                  <a:gd name="connsiteX3" fmla="*/ 1968899 w 2088885"/>
                  <a:gd name="connsiteY3" fmla="*/ 369108 h 2561350"/>
                  <a:gd name="connsiteX4" fmla="*/ 1949005 w 2088885"/>
                  <a:gd name="connsiteY4" fmla="*/ 1063389 h 2561350"/>
                  <a:gd name="connsiteX5" fmla="*/ 1859687 w 2088885"/>
                  <a:gd name="connsiteY5" fmla="*/ 1037347 h 2561350"/>
                  <a:gd name="connsiteX6" fmla="*/ 1857307 w 2088885"/>
                  <a:gd name="connsiteY6" fmla="*/ 1487403 h 2561350"/>
                  <a:gd name="connsiteX7" fmla="*/ 1949005 w 2088885"/>
                  <a:gd name="connsiteY7" fmla="*/ 1449629 h 2561350"/>
                  <a:gd name="connsiteX8" fmla="*/ 1949005 w 2088885"/>
                  <a:gd name="connsiteY8" fmla="*/ 2167002 h 2561350"/>
                  <a:gd name="connsiteX9" fmla="*/ 1219874 w 2088885"/>
                  <a:gd name="connsiteY9" fmla="*/ 2167002 h 2561350"/>
                  <a:gd name="connsiteX10" fmla="*/ 1239747 w 2088885"/>
                  <a:gd name="connsiteY10" fmla="*/ 2275300 h 2561350"/>
                  <a:gd name="connsiteX11" fmla="*/ 789691 w 2088885"/>
                  <a:gd name="connsiteY11" fmla="*/ 2277680 h 2561350"/>
                  <a:gd name="connsiteX12" fmla="*/ 819624 w 2088885"/>
                  <a:gd name="connsiteY12" fmla="*/ 2167002 h 2561350"/>
                  <a:gd name="connsiteX13" fmla="*/ 153225 w 2088885"/>
                  <a:gd name="connsiteY13" fmla="*/ 2167002 h 2561350"/>
                  <a:gd name="connsiteX14" fmla="*/ 153225 w 2088885"/>
                  <a:gd name="connsiteY14" fmla="*/ 1458174 h 2561350"/>
                  <a:gd name="connsiteX15" fmla="*/ 248224 w 2088885"/>
                  <a:gd name="connsiteY15" fmla="*/ 1495354 h 2561350"/>
                  <a:gd name="connsiteX16" fmla="*/ 245844 w 2088885"/>
                  <a:gd name="connsiteY16" fmla="*/ 1045298 h 2561350"/>
                  <a:gd name="connsiteX17" fmla="*/ 153225 w 2088885"/>
                  <a:gd name="connsiteY17" fmla="*/ 1071146 h 2561350"/>
                  <a:gd name="connsiteX18" fmla="*/ 106805 w 2088885"/>
                  <a:gd name="connsiteY18" fmla="*/ 382371 h 2561350"/>
                  <a:gd name="connsiteX19" fmla="*/ 824595 w 2088885"/>
                  <a:gd name="connsiteY19" fmla="*/ 389002 h 2561350"/>
                  <a:gd name="connsiteX20" fmla="*/ 789691 w 2088885"/>
                  <a:gd name="connsiteY20" fmla="*/ 283670 h 2561350"/>
                  <a:gd name="connsiteX21" fmla="*/ 1025434 w 208888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102756"/>
                  <a:gd name="connsiteY0" fmla="*/ 3 h 2561350"/>
                  <a:gd name="connsiteX1" fmla="*/ 1239747 w 2102756"/>
                  <a:gd name="connsiteY1" fmla="*/ 286050 h 2561350"/>
                  <a:gd name="connsiteX2" fmla="*/ 1217611 w 2102756"/>
                  <a:gd name="connsiteY2" fmla="*/ 389002 h 2561350"/>
                  <a:gd name="connsiteX3" fmla="*/ 1968899 w 2102756"/>
                  <a:gd name="connsiteY3" fmla="*/ 369108 h 2561350"/>
                  <a:gd name="connsiteX4" fmla="*/ 1949005 w 2102756"/>
                  <a:gd name="connsiteY4" fmla="*/ 1063389 h 2561350"/>
                  <a:gd name="connsiteX5" fmla="*/ 1859687 w 2102756"/>
                  <a:gd name="connsiteY5" fmla="*/ 1037347 h 2561350"/>
                  <a:gd name="connsiteX6" fmla="*/ 1857307 w 2102756"/>
                  <a:gd name="connsiteY6" fmla="*/ 1487403 h 2561350"/>
                  <a:gd name="connsiteX7" fmla="*/ 1995425 w 2102756"/>
                  <a:gd name="connsiteY7" fmla="*/ 1456260 h 2561350"/>
                  <a:gd name="connsiteX8" fmla="*/ 1949005 w 2102756"/>
                  <a:gd name="connsiteY8" fmla="*/ 2167002 h 2561350"/>
                  <a:gd name="connsiteX9" fmla="*/ 1219874 w 2102756"/>
                  <a:gd name="connsiteY9" fmla="*/ 2167002 h 2561350"/>
                  <a:gd name="connsiteX10" fmla="*/ 1239747 w 2102756"/>
                  <a:gd name="connsiteY10" fmla="*/ 2275300 h 2561350"/>
                  <a:gd name="connsiteX11" fmla="*/ 789691 w 2102756"/>
                  <a:gd name="connsiteY11" fmla="*/ 2277680 h 2561350"/>
                  <a:gd name="connsiteX12" fmla="*/ 819624 w 2102756"/>
                  <a:gd name="connsiteY12" fmla="*/ 2167002 h 2561350"/>
                  <a:gd name="connsiteX13" fmla="*/ 153225 w 2102756"/>
                  <a:gd name="connsiteY13" fmla="*/ 2167002 h 2561350"/>
                  <a:gd name="connsiteX14" fmla="*/ 153225 w 2102756"/>
                  <a:gd name="connsiteY14" fmla="*/ 1458174 h 2561350"/>
                  <a:gd name="connsiteX15" fmla="*/ 248224 w 2102756"/>
                  <a:gd name="connsiteY15" fmla="*/ 1495354 h 2561350"/>
                  <a:gd name="connsiteX16" fmla="*/ 245844 w 2102756"/>
                  <a:gd name="connsiteY16" fmla="*/ 1045298 h 2561350"/>
                  <a:gd name="connsiteX17" fmla="*/ 153225 w 2102756"/>
                  <a:gd name="connsiteY17" fmla="*/ 1071146 h 2561350"/>
                  <a:gd name="connsiteX18" fmla="*/ 106805 w 2102756"/>
                  <a:gd name="connsiteY18" fmla="*/ 382371 h 2561350"/>
                  <a:gd name="connsiteX19" fmla="*/ 824595 w 2102756"/>
                  <a:gd name="connsiteY19" fmla="*/ 389002 h 2561350"/>
                  <a:gd name="connsiteX20" fmla="*/ 789691 w 2102756"/>
                  <a:gd name="connsiteY20" fmla="*/ 283670 h 2561350"/>
                  <a:gd name="connsiteX21" fmla="*/ 1025434 w 2102756"/>
                  <a:gd name="connsiteY21" fmla="*/ 3 h 2561350"/>
                  <a:gd name="connsiteX0" fmla="*/ 1025434 w 2076232"/>
                  <a:gd name="connsiteY0" fmla="*/ 3 h 2561350"/>
                  <a:gd name="connsiteX1" fmla="*/ 1239747 w 2076232"/>
                  <a:gd name="connsiteY1" fmla="*/ 286050 h 2561350"/>
                  <a:gd name="connsiteX2" fmla="*/ 1217611 w 2076232"/>
                  <a:gd name="connsiteY2" fmla="*/ 389002 h 2561350"/>
                  <a:gd name="connsiteX3" fmla="*/ 1968899 w 2076232"/>
                  <a:gd name="connsiteY3" fmla="*/ 369108 h 2561350"/>
                  <a:gd name="connsiteX4" fmla="*/ 1949005 w 2076232"/>
                  <a:gd name="connsiteY4" fmla="*/ 1063389 h 2561350"/>
                  <a:gd name="connsiteX5" fmla="*/ 1859687 w 2076232"/>
                  <a:gd name="connsiteY5" fmla="*/ 1037347 h 2561350"/>
                  <a:gd name="connsiteX6" fmla="*/ 1857307 w 2076232"/>
                  <a:gd name="connsiteY6" fmla="*/ 1487403 h 2561350"/>
                  <a:gd name="connsiteX7" fmla="*/ 1995425 w 2076232"/>
                  <a:gd name="connsiteY7" fmla="*/ 1456260 h 2561350"/>
                  <a:gd name="connsiteX8" fmla="*/ 1949005 w 2076232"/>
                  <a:gd name="connsiteY8" fmla="*/ 2167002 h 2561350"/>
                  <a:gd name="connsiteX9" fmla="*/ 1219874 w 2076232"/>
                  <a:gd name="connsiteY9" fmla="*/ 2167002 h 2561350"/>
                  <a:gd name="connsiteX10" fmla="*/ 1239747 w 2076232"/>
                  <a:gd name="connsiteY10" fmla="*/ 2275300 h 2561350"/>
                  <a:gd name="connsiteX11" fmla="*/ 789691 w 2076232"/>
                  <a:gd name="connsiteY11" fmla="*/ 2277680 h 2561350"/>
                  <a:gd name="connsiteX12" fmla="*/ 819624 w 2076232"/>
                  <a:gd name="connsiteY12" fmla="*/ 2167002 h 2561350"/>
                  <a:gd name="connsiteX13" fmla="*/ 153225 w 2076232"/>
                  <a:gd name="connsiteY13" fmla="*/ 2167002 h 2561350"/>
                  <a:gd name="connsiteX14" fmla="*/ 153225 w 2076232"/>
                  <a:gd name="connsiteY14" fmla="*/ 1458174 h 2561350"/>
                  <a:gd name="connsiteX15" fmla="*/ 248224 w 2076232"/>
                  <a:gd name="connsiteY15" fmla="*/ 1495354 h 2561350"/>
                  <a:gd name="connsiteX16" fmla="*/ 245844 w 2076232"/>
                  <a:gd name="connsiteY16" fmla="*/ 1045298 h 2561350"/>
                  <a:gd name="connsiteX17" fmla="*/ 153225 w 2076232"/>
                  <a:gd name="connsiteY17" fmla="*/ 1071146 h 2561350"/>
                  <a:gd name="connsiteX18" fmla="*/ 106805 w 2076232"/>
                  <a:gd name="connsiteY18" fmla="*/ 382371 h 2561350"/>
                  <a:gd name="connsiteX19" fmla="*/ 824595 w 2076232"/>
                  <a:gd name="connsiteY19" fmla="*/ 389002 h 2561350"/>
                  <a:gd name="connsiteX20" fmla="*/ 789691 w 2076232"/>
                  <a:gd name="connsiteY20" fmla="*/ 283670 h 2561350"/>
                  <a:gd name="connsiteX21" fmla="*/ 1025434 w 2076232"/>
                  <a:gd name="connsiteY21" fmla="*/ 3 h 2561350"/>
                  <a:gd name="connsiteX0" fmla="*/ 1025434 w 2077711"/>
                  <a:gd name="connsiteY0" fmla="*/ 3 h 2561350"/>
                  <a:gd name="connsiteX1" fmla="*/ 1239747 w 2077711"/>
                  <a:gd name="connsiteY1" fmla="*/ 286050 h 2561350"/>
                  <a:gd name="connsiteX2" fmla="*/ 1217611 w 2077711"/>
                  <a:gd name="connsiteY2" fmla="*/ 389002 h 2561350"/>
                  <a:gd name="connsiteX3" fmla="*/ 1968899 w 2077711"/>
                  <a:gd name="connsiteY3" fmla="*/ 369108 h 2561350"/>
                  <a:gd name="connsiteX4" fmla="*/ 1949005 w 2077711"/>
                  <a:gd name="connsiteY4" fmla="*/ 1063389 h 2561350"/>
                  <a:gd name="connsiteX5" fmla="*/ 1859687 w 2077711"/>
                  <a:gd name="connsiteY5" fmla="*/ 1037347 h 2561350"/>
                  <a:gd name="connsiteX6" fmla="*/ 1857307 w 2077711"/>
                  <a:gd name="connsiteY6" fmla="*/ 1487403 h 2561350"/>
                  <a:gd name="connsiteX7" fmla="*/ 1995425 w 2077711"/>
                  <a:gd name="connsiteY7" fmla="*/ 1456260 h 2561350"/>
                  <a:gd name="connsiteX8" fmla="*/ 1949005 w 2077711"/>
                  <a:gd name="connsiteY8" fmla="*/ 2167002 h 2561350"/>
                  <a:gd name="connsiteX9" fmla="*/ 1219874 w 2077711"/>
                  <a:gd name="connsiteY9" fmla="*/ 2167002 h 2561350"/>
                  <a:gd name="connsiteX10" fmla="*/ 1239747 w 2077711"/>
                  <a:gd name="connsiteY10" fmla="*/ 2275300 h 2561350"/>
                  <a:gd name="connsiteX11" fmla="*/ 789691 w 2077711"/>
                  <a:gd name="connsiteY11" fmla="*/ 2277680 h 2561350"/>
                  <a:gd name="connsiteX12" fmla="*/ 819624 w 2077711"/>
                  <a:gd name="connsiteY12" fmla="*/ 2167002 h 2561350"/>
                  <a:gd name="connsiteX13" fmla="*/ 153225 w 2077711"/>
                  <a:gd name="connsiteY13" fmla="*/ 2167002 h 2561350"/>
                  <a:gd name="connsiteX14" fmla="*/ 153225 w 2077711"/>
                  <a:gd name="connsiteY14" fmla="*/ 1458174 h 2561350"/>
                  <a:gd name="connsiteX15" fmla="*/ 248224 w 2077711"/>
                  <a:gd name="connsiteY15" fmla="*/ 1495354 h 2561350"/>
                  <a:gd name="connsiteX16" fmla="*/ 245844 w 2077711"/>
                  <a:gd name="connsiteY16" fmla="*/ 1045298 h 2561350"/>
                  <a:gd name="connsiteX17" fmla="*/ 153225 w 2077711"/>
                  <a:gd name="connsiteY17" fmla="*/ 1071146 h 2561350"/>
                  <a:gd name="connsiteX18" fmla="*/ 106805 w 2077711"/>
                  <a:gd name="connsiteY18" fmla="*/ 382371 h 2561350"/>
                  <a:gd name="connsiteX19" fmla="*/ 824595 w 2077711"/>
                  <a:gd name="connsiteY19" fmla="*/ 389002 h 2561350"/>
                  <a:gd name="connsiteX20" fmla="*/ 789691 w 2077711"/>
                  <a:gd name="connsiteY20" fmla="*/ 283670 h 2561350"/>
                  <a:gd name="connsiteX21" fmla="*/ 1025434 w 2077711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57307 w 2082173"/>
                  <a:gd name="connsiteY6" fmla="*/ 1487403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57307 w 2082173"/>
                  <a:gd name="connsiteY6" fmla="*/ 1487403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1331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1331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13436 w 2082173"/>
                  <a:gd name="connsiteY14" fmla="*/ 1511225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38495 w 2095234"/>
                  <a:gd name="connsiteY0" fmla="*/ 3 h 2561350"/>
                  <a:gd name="connsiteX1" fmla="*/ 1252808 w 2095234"/>
                  <a:gd name="connsiteY1" fmla="*/ 286050 h 2561350"/>
                  <a:gd name="connsiteX2" fmla="*/ 1230672 w 2095234"/>
                  <a:gd name="connsiteY2" fmla="*/ 389002 h 2561350"/>
                  <a:gd name="connsiteX3" fmla="*/ 1981960 w 2095234"/>
                  <a:gd name="connsiteY3" fmla="*/ 369108 h 2561350"/>
                  <a:gd name="connsiteX4" fmla="*/ 1975328 w 2095234"/>
                  <a:gd name="connsiteY4" fmla="*/ 1096546 h 2561350"/>
                  <a:gd name="connsiteX5" fmla="*/ 1872748 w 2095234"/>
                  <a:gd name="connsiteY5" fmla="*/ 1037347 h 2561350"/>
                  <a:gd name="connsiteX6" fmla="*/ 1857106 w 2095234"/>
                  <a:gd name="connsiteY6" fmla="*/ 1520560 h 2561350"/>
                  <a:gd name="connsiteX7" fmla="*/ 2008486 w 2095234"/>
                  <a:gd name="connsiteY7" fmla="*/ 1456260 h 2561350"/>
                  <a:gd name="connsiteX8" fmla="*/ 1962066 w 2095234"/>
                  <a:gd name="connsiteY8" fmla="*/ 2180265 h 2561350"/>
                  <a:gd name="connsiteX9" fmla="*/ 1232935 w 2095234"/>
                  <a:gd name="connsiteY9" fmla="*/ 2167002 h 2561350"/>
                  <a:gd name="connsiteX10" fmla="*/ 1252808 w 2095234"/>
                  <a:gd name="connsiteY10" fmla="*/ 2275300 h 2561350"/>
                  <a:gd name="connsiteX11" fmla="*/ 802752 w 2095234"/>
                  <a:gd name="connsiteY11" fmla="*/ 2277680 h 2561350"/>
                  <a:gd name="connsiteX12" fmla="*/ 832685 w 2095234"/>
                  <a:gd name="connsiteY12" fmla="*/ 2167002 h 2561350"/>
                  <a:gd name="connsiteX13" fmla="*/ 139760 w 2095234"/>
                  <a:gd name="connsiteY13" fmla="*/ 2200159 h 2561350"/>
                  <a:gd name="connsiteX14" fmla="*/ 119866 w 2095234"/>
                  <a:gd name="connsiteY14" fmla="*/ 1497962 h 2561350"/>
                  <a:gd name="connsiteX15" fmla="*/ 281179 w 2095234"/>
                  <a:gd name="connsiteY15" fmla="*/ 1561668 h 2561350"/>
                  <a:gd name="connsiteX16" fmla="*/ 258905 w 2095234"/>
                  <a:gd name="connsiteY16" fmla="*/ 1045298 h 2561350"/>
                  <a:gd name="connsiteX17" fmla="*/ 146392 w 2095234"/>
                  <a:gd name="connsiteY17" fmla="*/ 1091040 h 2561350"/>
                  <a:gd name="connsiteX18" fmla="*/ 119866 w 2095234"/>
                  <a:gd name="connsiteY18" fmla="*/ 382371 h 2561350"/>
                  <a:gd name="connsiteX19" fmla="*/ 837656 w 2095234"/>
                  <a:gd name="connsiteY19" fmla="*/ 389002 h 2561350"/>
                  <a:gd name="connsiteX20" fmla="*/ 802752 w 2095234"/>
                  <a:gd name="connsiteY20" fmla="*/ 283670 h 2561350"/>
                  <a:gd name="connsiteX21" fmla="*/ 1038495 w 2095234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19868 w 2076607"/>
                  <a:gd name="connsiteY0" fmla="*/ 3 h 2561350"/>
                  <a:gd name="connsiteX1" fmla="*/ 1234181 w 2076607"/>
                  <a:gd name="connsiteY1" fmla="*/ 286050 h 2561350"/>
                  <a:gd name="connsiteX2" fmla="*/ 1212045 w 2076607"/>
                  <a:gd name="connsiteY2" fmla="*/ 389002 h 2561350"/>
                  <a:gd name="connsiteX3" fmla="*/ 1963333 w 2076607"/>
                  <a:gd name="connsiteY3" fmla="*/ 369108 h 2561350"/>
                  <a:gd name="connsiteX4" fmla="*/ 1956701 w 2076607"/>
                  <a:gd name="connsiteY4" fmla="*/ 1096546 h 2561350"/>
                  <a:gd name="connsiteX5" fmla="*/ 1854121 w 2076607"/>
                  <a:gd name="connsiteY5" fmla="*/ 1037347 h 2561350"/>
                  <a:gd name="connsiteX6" fmla="*/ 1838479 w 2076607"/>
                  <a:gd name="connsiteY6" fmla="*/ 1520560 h 2561350"/>
                  <a:gd name="connsiteX7" fmla="*/ 1989859 w 2076607"/>
                  <a:gd name="connsiteY7" fmla="*/ 1456260 h 2561350"/>
                  <a:gd name="connsiteX8" fmla="*/ 1943439 w 2076607"/>
                  <a:gd name="connsiteY8" fmla="*/ 2180265 h 2561350"/>
                  <a:gd name="connsiteX9" fmla="*/ 1214308 w 2076607"/>
                  <a:gd name="connsiteY9" fmla="*/ 2167002 h 2561350"/>
                  <a:gd name="connsiteX10" fmla="*/ 1234181 w 2076607"/>
                  <a:gd name="connsiteY10" fmla="*/ 2275300 h 2561350"/>
                  <a:gd name="connsiteX11" fmla="*/ 784125 w 2076607"/>
                  <a:gd name="connsiteY11" fmla="*/ 2277680 h 2561350"/>
                  <a:gd name="connsiteX12" fmla="*/ 814058 w 2076607"/>
                  <a:gd name="connsiteY12" fmla="*/ 2167002 h 2561350"/>
                  <a:gd name="connsiteX13" fmla="*/ 121133 w 2076607"/>
                  <a:gd name="connsiteY13" fmla="*/ 2200159 h 2561350"/>
                  <a:gd name="connsiteX14" fmla="*/ 101239 w 2076607"/>
                  <a:gd name="connsiteY14" fmla="*/ 1497962 h 2561350"/>
                  <a:gd name="connsiteX15" fmla="*/ 262552 w 2076607"/>
                  <a:gd name="connsiteY15" fmla="*/ 1561668 h 2561350"/>
                  <a:gd name="connsiteX16" fmla="*/ 240278 w 2076607"/>
                  <a:gd name="connsiteY16" fmla="*/ 1045298 h 2561350"/>
                  <a:gd name="connsiteX17" fmla="*/ 101239 w 2076607"/>
                  <a:gd name="connsiteY17" fmla="*/ 382371 h 2561350"/>
                  <a:gd name="connsiteX18" fmla="*/ 819029 w 2076607"/>
                  <a:gd name="connsiteY18" fmla="*/ 389002 h 2561350"/>
                  <a:gd name="connsiteX19" fmla="*/ 784125 w 2076607"/>
                  <a:gd name="connsiteY19" fmla="*/ 283670 h 2561350"/>
                  <a:gd name="connsiteX20" fmla="*/ 1019868 w 2076607"/>
                  <a:gd name="connsiteY20" fmla="*/ 3 h 2561350"/>
                  <a:gd name="connsiteX0" fmla="*/ 1019868 w 2076607"/>
                  <a:gd name="connsiteY0" fmla="*/ 3 h 2561350"/>
                  <a:gd name="connsiteX1" fmla="*/ 1234181 w 2076607"/>
                  <a:gd name="connsiteY1" fmla="*/ 286050 h 2561350"/>
                  <a:gd name="connsiteX2" fmla="*/ 1212045 w 2076607"/>
                  <a:gd name="connsiteY2" fmla="*/ 389002 h 2561350"/>
                  <a:gd name="connsiteX3" fmla="*/ 1963333 w 2076607"/>
                  <a:gd name="connsiteY3" fmla="*/ 369108 h 2561350"/>
                  <a:gd name="connsiteX4" fmla="*/ 1956701 w 2076607"/>
                  <a:gd name="connsiteY4" fmla="*/ 1096546 h 2561350"/>
                  <a:gd name="connsiteX5" fmla="*/ 1854121 w 2076607"/>
                  <a:gd name="connsiteY5" fmla="*/ 1037347 h 2561350"/>
                  <a:gd name="connsiteX6" fmla="*/ 1838479 w 2076607"/>
                  <a:gd name="connsiteY6" fmla="*/ 1520560 h 2561350"/>
                  <a:gd name="connsiteX7" fmla="*/ 1989859 w 2076607"/>
                  <a:gd name="connsiteY7" fmla="*/ 1456260 h 2561350"/>
                  <a:gd name="connsiteX8" fmla="*/ 1943439 w 2076607"/>
                  <a:gd name="connsiteY8" fmla="*/ 2180265 h 2561350"/>
                  <a:gd name="connsiteX9" fmla="*/ 1214308 w 2076607"/>
                  <a:gd name="connsiteY9" fmla="*/ 2167002 h 2561350"/>
                  <a:gd name="connsiteX10" fmla="*/ 1234181 w 2076607"/>
                  <a:gd name="connsiteY10" fmla="*/ 2275300 h 2561350"/>
                  <a:gd name="connsiteX11" fmla="*/ 784125 w 2076607"/>
                  <a:gd name="connsiteY11" fmla="*/ 2277680 h 2561350"/>
                  <a:gd name="connsiteX12" fmla="*/ 814058 w 2076607"/>
                  <a:gd name="connsiteY12" fmla="*/ 2167002 h 2561350"/>
                  <a:gd name="connsiteX13" fmla="*/ 121133 w 2076607"/>
                  <a:gd name="connsiteY13" fmla="*/ 2200159 h 2561350"/>
                  <a:gd name="connsiteX14" fmla="*/ 101239 w 2076607"/>
                  <a:gd name="connsiteY14" fmla="*/ 1497962 h 2561350"/>
                  <a:gd name="connsiteX15" fmla="*/ 262552 w 2076607"/>
                  <a:gd name="connsiteY15" fmla="*/ 1561668 h 2561350"/>
                  <a:gd name="connsiteX16" fmla="*/ 240278 w 2076607"/>
                  <a:gd name="connsiteY16" fmla="*/ 1045298 h 2561350"/>
                  <a:gd name="connsiteX17" fmla="*/ 136388 w 2076607"/>
                  <a:gd name="connsiteY17" fmla="*/ 727479 h 2561350"/>
                  <a:gd name="connsiteX18" fmla="*/ 101239 w 2076607"/>
                  <a:gd name="connsiteY18" fmla="*/ 382371 h 2561350"/>
                  <a:gd name="connsiteX19" fmla="*/ 819029 w 2076607"/>
                  <a:gd name="connsiteY19" fmla="*/ 389002 h 2561350"/>
                  <a:gd name="connsiteX20" fmla="*/ 784125 w 2076607"/>
                  <a:gd name="connsiteY20" fmla="*/ 283670 h 2561350"/>
                  <a:gd name="connsiteX21" fmla="*/ 1019868 w 2076607"/>
                  <a:gd name="connsiteY21" fmla="*/ 3 h 2561350"/>
                  <a:gd name="connsiteX0" fmla="*/ 1030195 w 2086934"/>
                  <a:gd name="connsiteY0" fmla="*/ 3 h 2561350"/>
                  <a:gd name="connsiteX1" fmla="*/ 1244508 w 2086934"/>
                  <a:gd name="connsiteY1" fmla="*/ 286050 h 2561350"/>
                  <a:gd name="connsiteX2" fmla="*/ 1222372 w 2086934"/>
                  <a:gd name="connsiteY2" fmla="*/ 389002 h 2561350"/>
                  <a:gd name="connsiteX3" fmla="*/ 1973660 w 2086934"/>
                  <a:gd name="connsiteY3" fmla="*/ 369108 h 2561350"/>
                  <a:gd name="connsiteX4" fmla="*/ 1967028 w 2086934"/>
                  <a:gd name="connsiteY4" fmla="*/ 1096546 h 2561350"/>
                  <a:gd name="connsiteX5" fmla="*/ 1864448 w 2086934"/>
                  <a:gd name="connsiteY5" fmla="*/ 1037347 h 2561350"/>
                  <a:gd name="connsiteX6" fmla="*/ 1848806 w 2086934"/>
                  <a:gd name="connsiteY6" fmla="*/ 1520560 h 2561350"/>
                  <a:gd name="connsiteX7" fmla="*/ 2000186 w 2086934"/>
                  <a:gd name="connsiteY7" fmla="*/ 1456260 h 2561350"/>
                  <a:gd name="connsiteX8" fmla="*/ 1953766 w 2086934"/>
                  <a:gd name="connsiteY8" fmla="*/ 2180265 h 2561350"/>
                  <a:gd name="connsiteX9" fmla="*/ 1224635 w 2086934"/>
                  <a:gd name="connsiteY9" fmla="*/ 2167002 h 2561350"/>
                  <a:gd name="connsiteX10" fmla="*/ 1244508 w 2086934"/>
                  <a:gd name="connsiteY10" fmla="*/ 2275300 h 2561350"/>
                  <a:gd name="connsiteX11" fmla="*/ 794452 w 2086934"/>
                  <a:gd name="connsiteY11" fmla="*/ 2277680 h 2561350"/>
                  <a:gd name="connsiteX12" fmla="*/ 824385 w 2086934"/>
                  <a:gd name="connsiteY12" fmla="*/ 2167002 h 2561350"/>
                  <a:gd name="connsiteX13" fmla="*/ 131460 w 2086934"/>
                  <a:gd name="connsiteY13" fmla="*/ 2200159 h 2561350"/>
                  <a:gd name="connsiteX14" fmla="*/ 111566 w 2086934"/>
                  <a:gd name="connsiteY14" fmla="*/ 1497962 h 2561350"/>
                  <a:gd name="connsiteX15" fmla="*/ 272879 w 2086934"/>
                  <a:gd name="connsiteY15" fmla="*/ 1561668 h 2561350"/>
                  <a:gd name="connsiteX16" fmla="*/ 250605 w 2086934"/>
                  <a:gd name="connsiteY16" fmla="*/ 1045298 h 2561350"/>
                  <a:gd name="connsiteX17" fmla="*/ 9943 w 2086934"/>
                  <a:gd name="connsiteY17" fmla="*/ 1018431 h 2561350"/>
                  <a:gd name="connsiteX18" fmla="*/ 111566 w 2086934"/>
                  <a:gd name="connsiteY18" fmla="*/ 382371 h 2561350"/>
                  <a:gd name="connsiteX19" fmla="*/ 829356 w 2086934"/>
                  <a:gd name="connsiteY19" fmla="*/ 389002 h 2561350"/>
                  <a:gd name="connsiteX20" fmla="*/ 794452 w 2086934"/>
                  <a:gd name="connsiteY20" fmla="*/ 283670 h 2561350"/>
                  <a:gd name="connsiteX21" fmla="*/ 1030195 w 2086934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270566 w 2084621"/>
                  <a:gd name="connsiteY14" fmla="*/ 1561668 h 2561350"/>
                  <a:gd name="connsiteX15" fmla="*/ 248292 w 2084621"/>
                  <a:gd name="connsiteY15" fmla="*/ 1045298 h 2561350"/>
                  <a:gd name="connsiteX16" fmla="*/ 7630 w 2084621"/>
                  <a:gd name="connsiteY16" fmla="*/ 1018431 h 2561350"/>
                  <a:gd name="connsiteX17" fmla="*/ 109253 w 2084621"/>
                  <a:gd name="connsiteY17" fmla="*/ 382371 h 2561350"/>
                  <a:gd name="connsiteX18" fmla="*/ 827043 w 2084621"/>
                  <a:gd name="connsiteY18" fmla="*/ 389002 h 2561350"/>
                  <a:gd name="connsiteX19" fmla="*/ 792139 w 2084621"/>
                  <a:gd name="connsiteY19" fmla="*/ 283670 h 2561350"/>
                  <a:gd name="connsiteX20" fmla="*/ 1027882 w 2084621"/>
                  <a:gd name="connsiteY20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76730 w 2084621"/>
                  <a:gd name="connsiteY14" fmla="*/ 1866419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33820 w 2090559"/>
                  <a:gd name="connsiteY0" fmla="*/ 3 h 2561350"/>
                  <a:gd name="connsiteX1" fmla="*/ 1248133 w 2090559"/>
                  <a:gd name="connsiteY1" fmla="*/ 286050 h 2561350"/>
                  <a:gd name="connsiteX2" fmla="*/ 1225997 w 2090559"/>
                  <a:gd name="connsiteY2" fmla="*/ 389002 h 2561350"/>
                  <a:gd name="connsiteX3" fmla="*/ 1977285 w 2090559"/>
                  <a:gd name="connsiteY3" fmla="*/ 369108 h 2561350"/>
                  <a:gd name="connsiteX4" fmla="*/ 1970653 w 2090559"/>
                  <a:gd name="connsiteY4" fmla="*/ 1096546 h 2561350"/>
                  <a:gd name="connsiteX5" fmla="*/ 1868073 w 2090559"/>
                  <a:gd name="connsiteY5" fmla="*/ 1037347 h 2561350"/>
                  <a:gd name="connsiteX6" fmla="*/ 1852431 w 2090559"/>
                  <a:gd name="connsiteY6" fmla="*/ 1520560 h 2561350"/>
                  <a:gd name="connsiteX7" fmla="*/ 2003811 w 2090559"/>
                  <a:gd name="connsiteY7" fmla="*/ 1456260 h 2561350"/>
                  <a:gd name="connsiteX8" fmla="*/ 1957391 w 2090559"/>
                  <a:gd name="connsiteY8" fmla="*/ 2180265 h 2561350"/>
                  <a:gd name="connsiteX9" fmla="*/ 1228260 w 2090559"/>
                  <a:gd name="connsiteY9" fmla="*/ 2167002 h 2561350"/>
                  <a:gd name="connsiteX10" fmla="*/ 1248133 w 2090559"/>
                  <a:gd name="connsiteY10" fmla="*/ 2275300 h 2561350"/>
                  <a:gd name="connsiteX11" fmla="*/ 798077 w 2090559"/>
                  <a:gd name="connsiteY11" fmla="*/ 2277680 h 2561350"/>
                  <a:gd name="connsiteX12" fmla="*/ 828010 w 2090559"/>
                  <a:gd name="connsiteY12" fmla="*/ 2167002 h 2561350"/>
                  <a:gd name="connsiteX13" fmla="*/ 135085 w 2090559"/>
                  <a:gd name="connsiteY13" fmla="*/ 2200159 h 2561350"/>
                  <a:gd name="connsiteX14" fmla="*/ 6108 w 2090559"/>
                  <a:gd name="connsiteY14" fmla="*/ 1657531 h 2561350"/>
                  <a:gd name="connsiteX15" fmla="*/ 276504 w 2090559"/>
                  <a:gd name="connsiteY15" fmla="*/ 1561668 h 2561350"/>
                  <a:gd name="connsiteX16" fmla="*/ 254230 w 2090559"/>
                  <a:gd name="connsiteY16" fmla="*/ 1045298 h 2561350"/>
                  <a:gd name="connsiteX17" fmla="*/ 13568 w 2090559"/>
                  <a:gd name="connsiteY17" fmla="*/ 1018431 h 2561350"/>
                  <a:gd name="connsiteX18" fmla="*/ 115191 w 2090559"/>
                  <a:gd name="connsiteY18" fmla="*/ 382371 h 2561350"/>
                  <a:gd name="connsiteX19" fmla="*/ 832981 w 2090559"/>
                  <a:gd name="connsiteY19" fmla="*/ 389002 h 2561350"/>
                  <a:gd name="connsiteX20" fmla="*/ 798077 w 2090559"/>
                  <a:gd name="connsiteY20" fmla="*/ 283670 h 2561350"/>
                  <a:gd name="connsiteX21" fmla="*/ 1033820 w 2090559"/>
                  <a:gd name="connsiteY21" fmla="*/ 3 h 2561350"/>
                  <a:gd name="connsiteX0" fmla="*/ 1032856 w 2089595"/>
                  <a:gd name="connsiteY0" fmla="*/ 3 h 2561350"/>
                  <a:gd name="connsiteX1" fmla="*/ 1247169 w 2089595"/>
                  <a:gd name="connsiteY1" fmla="*/ 286050 h 2561350"/>
                  <a:gd name="connsiteX2" fmla="*/ 1225033 w 2089595"/>
                  <a:gd name="connsiteY2" fmla="*/ 389002 h 2561350"/>
                  <a:gd name="connsiteX3" fmla="*/ 1976321 w 2089595"/>
                  <a:gd name="connsiteY3" fmla="*/ 369108 h 2561350"/>
                  <a:gd name="connsiteX4" fmla="*/ 1969689 w 2089595"/>
                  <a:gd name="connsiteY4" fmla="*/ 1096546 h 2561350"/>
                  <a:gd name="connsiteX5" fmla="*/ 1867109 w 2089595"/>
                  <a:gd name="connsiteY5" fmla="*/ 1037347 h 2561350"/>
                  <a:gd name="connsiteX6" fmla="*/ 1851467 w 2089595"/>
                  <a:gd name="connsiteY6" fmla="*/ 1520560 h 2561350"/>
                  <a:gd name="connsiteX7" fmla="*/ 2002847 w 2089595"/>
                  <a:gd name="connsiteY7" fmla="*/ 1456260 h 2561350"/>
                  <a:gd name="connsiteX8" fmla="*/ 1956427 w 2089595"/>
                  <a:gd name="connsiteY8" fmla="*/ 2180265 h 2561350"/>
                  <a:gd name="connsiteX9" fmla="*/ 1227296 w 2089595"/>
                  <a:gd name="connsiteY9" fmla="*/ 2167002 h 2561350"/>
                  <a:gd name="connsiteX10" fmla="*/ 1247169 w 2089595"/>
                  <a:gd name="connsiteY10" fmla="*/ 2275300 h 2561350"/>
                  <a:gd name="connsiteX11" fmla="*/ 797113 w 2089595"/>
                  <a:gd name="connsiteY11" fmla="*/ 2277680 h 2561350"/>
                  <a:gd name="connsiteX12" fmla="*/ 827046 w 2089595"/>
                  <a:gd name="connsiteY12" fmla="*/ 2167002 h 2561350"/>
                  <a:gd name="connsiteX13" fmla="*/ 134121 w 2089595"/>
                  <a:gd name="connsiteY13" fmla="*/ 2200159 h 2561350"/>
                  <a:gd name="connsiteX14" fmla="*/ 5144 w 2089595"/>
                  <a:gd name="connsiteY14" fmla="*/ 1657531 h 2561350"/>
                  <a:gd name="connsiteX15" fmla="*/ 275540 w 2089595"/>
                  <a:gd name="connsiteY15" fmla="*/ 1561668 h 2561350"/>
                  <a:gd name="connsiteX16" fmla="*/ 253266 w 2089595"/>
                  <a:gd name="connsiteY16" fmla="*/ 1045298 h 2561350"/>
                  <a:gd name="connsiteX17" fmla="*/ 12604 w 2089595"/>
                  <a:gd name="connsiteY17" fmla="*/ 1018431 h 2561350"/>
                  <a:gd name="connsiteX18" fmla="*/ 114227 w 2089595"/>
                  <a:gd name="connsiteY18" fmla="*/ 382371 h 2561350"/>
                  <a:gd name="connsiteX19" fmla="*/ 832017 w 2089595"/>
                  <a:gd name="connsiteY19" fmla="*/ 389002 h 2561350"/>
                  <a:gd name="connsiteX20" fmla="*/ 797113 w 2089595"/>
                  <a:gd name="connsiteY20" fmla="*/ 283670 h 2561350"/>
                  <a:gd name="connsiteX21" fmla="*/ 1032856 w 2089595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1863015 w 2081039"/>
                  <a:gd name="connsiteY4" fmla="*/ 1037347 h 2561350"/>
                  <a:gd name="connsiteX5" fmla="*/ 1847373 w 2081039"/>
                  <a:gd name="connsiteY5" fmla="*/ 1520560 h 2561350"/>
                  <a:gd name="connsiteX6" fmla="*/ 1998753 w 2081039"/>
                  <a:gd name="connsiteY6" fmla="*/ 1456260 h 2561350"/>
                  <a:gd name="connsiteX7" fmla="*/ 1952333 w 2081039"/>
                  <a:gd name="connsiteY7" fmla="*/ 2180265 h 2561350"/>
                  <a:gd name="connsiteX8" fmla="*/ 1223202 w 2081039"/>
                  <a:gd name="connsiteY8" fmla="*/ 2167002 h 2561350"/>
                  <a:gd name="connsiteX9" fmla="*/ 1243075 w 2081039"/>
                  <a:gd name="connsiteY9" fmla="*/ 2275300 h 2561350"/>
                  <a:gd name="connsiteX10" fmla="*/ 793019 w 2081039"/>
                  <a:gd name="connsiteY10" fmla="*/ 2277680 h 2561350"/>
                  <a:gd name="connsiteX11" fmla="*/ 822952 w 2081039"/>
                  <a:gd name="connsiteY11" fmla="*/ 2167002 h 2561350"/>
                  <a:gd name="connsiteX12" fmla="*/ 130027 w 2081039"/>
                  <a:gd name="connsiteY12" fmla="*/ 2200159 h 2561350"/>
                  <a:gd name="connsiteX13" fmla="*/ 1050 w 2081039"/>
                  <a:gd name="connsiteY13" fmla="*/ 1657531 h 2561350"/>
                  <a:gd name="connsiteX14" fmla="*/ 271446 w 2081039"/>
                  <a:gd name="connsiteY14" fmla="*/ 1561668 h 2561350"/>
                  <a:gd name="connsiteX15" fmla="*/ 249172 w 2081039"/>
                  <a:gd name="connsiteY15" fmla="*/ 1045298 h 2561350"/>
                  <a:gd name="connsiteX16" fmla="*/ 8510 w 2081039"/>
                  <a:gd name="connsiteY16" fmla="*/ 1018431 h 2561350"/>
                  <a:gd name="connsiteX17" fmla="*/ 110133 w 2081039"/>
                  <a:gd name="connsiteY17" fmla="*/ 382371 h 2561350"/>
                  <a:gd name="connsiteX18" fmla="*/ 827923 w 2081039"/>
                  <a:gd name="connsiteY18" fmla="*/ 389002 h 2561350"/>
                  <a:gd name="connsiteX19" fmla="*/ 793019 w 2081039"/>
                  <a:gd name="connsiteY19" fmla="*/ 283670 h 2561350"/>
                  <a:gd name="connsiteX20" fmla="*/ 1028762 w 2081039"/>
                  <a:gd name="connsiteY20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1933270 w 2081039"/>
                  <a:gd name="connsiteY4" fmla="*/ 764780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7307 w 2081039"/>
                  <a:gd name="connsiteY3" fmla="*/ 371595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7307 w 2081039"/>
                  <a:gd name="connsiteY3" fmla="*/ 371595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9793 w 2081039"/>
                  <a:gd name="connsiteY3" fmla="*/ 36164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9793 w 2081039"/>
                  <a:gd name="connsiteY3" fmla="*/ 36164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1952333 w 2072429"/>
                  <a:gd name="connsiteY7" fmla="*/ 2180265 h 2561350"/>
                  <a:gd name="connsiteX8" fmla="*/ 1223202 w 2072429"/>
                  <a:gd name="connsiteY8" fmla="*/ 2167002 h 2561350"/>
                  <a:gd name="connsiteX9" fmla="*/ 1243075 w 2072429"/>
                  <a:gd name="connsiteY9" fmla="*/ 2275300 h 2561350"/>
                  <a:gd name="connsiteX10" fmla="*/ 793019 w 2072429"/>
                  <a:gd name="connsiteY10" fmla="*/ 2277680 h 2561350"/>
                  <a:gd name="connsiteX11" fmla="*/ 822952 w 2072429"/>
                  <a:gd name="connsiteY11" fmla="*/ 2167002 h 2561350"/>
                  <a:gd name="connsiteX12" fmla="*/ 130027 w 2072429"/>
                  <a:gd name="connsiteY12" fmla="*/ 2200159 h 2561350"/>
                  <a:gd name="connsiteX13" fmla="*/ 1050 w 2072429"/>
                  <a:gd name="connsiteY13" fmla="*/ 1657531 h 2561350"/>
                  <a:gd name="connsiteX14" fmla="*/ 271446 w 2072429"/>
                  <a:gd name="connsiteY14" fmla="*/ 1561668 h 2561350"/>
                  <a:gd name="connsiteX15" fmla="*/ 249172 w 2072429"/>
                  <a:gd name="connsiteY15" fmla="*/ 1045298 h 2561350"/>
                  <a:gd name="connsiteX16" fmla="*/ 8510 w 2072429"/>
                  <a:gd name="connsiteY16" fmla="*/ 1018431 h 2561350"/>
                  <a:gd name="connsiteX17" fmla="*/ 110133 w 2072429"/>
                  <a:gd name="connsiteY17" fmla="*/ 382371 h 2561350"/>
                  <a:gd name="connsiteX18" fmla="*/ 827923 w 2072429"/>
                  <a:gd name="connsiteY18" fmla="*/ 389002 h 2561350"/>
                  <a:gd name="connsiteX19" fmla="*/ 793019 w 2072429"/>
                  <a:gd name="connsiteY19" fmla="*/ 283670 h 2561350"/>
                  <a:gd name="connsiteX20" fmla="*/ 1028762 w 2072429"/>
                  <a:gd name="connsiteY20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1890996 w 2072429"/>
                  <a:gd name="connsiteY7" fmla="*/ 1722186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47373 w 2072429"/>
                  <a:gd name="connsiteY5" fmla="*/ 1535481 h 2561350"/>
                  <a:gd name="connsiteX6" fmla="*/ 2065070 w 2072429"/>
                  <a:gd name="connsiteY6" fmla="*/ 1597847 h 2561350"/>
                  <a:gd name="connsiteX7" fmla="*/ 1952333 w 2072429"/>
                  <a:gd name="connsiteY7" fmla="*/ 2180265 h 2561350"/>
                  <a:gd name="connsiteX8" fmla="*/ 1223202 w 2072429"/>
                  <a:gd name="connsiteY8" fmla="*/ 2167002 h 2561350"/>
                  <a:gd name="connsiteX9" fmla="*/ 1243075 w 2072429"/>
                  <a:gd name="connsiteY9" fmla="*/ 2275300 h 2561350"/>
                  <a:gd name="connsiteX10" fmla="*/ 793019 w 2072429"/>
                  <a:gd name="connsiteY10" fmla="*/ 2277680 h 2561350"/>
                  <a:gd name="connsiteX11" fmla="*/ 822952 w 2072429"/>
                  <a:gd name="connsiteY11" fmla="*/ 2167002 h 2561350"/>
                  <a:gd name="connsiteX12" fmla="*/ 130027 w 2072429"/>
                  <a:gd name="connsiteY12" fmla="*/ 2200159 h 2561350"/>
                  <a:gd name="connsiteX13" fmla="*/ 1050 w 2072429"/>
                  <a:gd name="connsiteY13" fmla="*/ 1657531 h 2561350"/>
                  <a:gd name="connsiteX14" fmla="*/ 271446 w 2072429"/>
                  <a:gd name="connsiteY14" fmla="*/ 1561668 h 2561350"/>
                  <a:gd name="connsiteX15" fmla="*/ 249172 w 2072429"/>
                  <a:gd name="connsiteY15" fmla="*/ 1045298 h 2561350"/>
                  <a:gd name="connsiteX16" fmla="*/ 8510 w 2072429"/>
                  <a:gd name="connsiteY16" fmla="*/ 1018431 h 2561350"/>
                  <a:gd name="connsiteX17" fmla="*/ 110133 w 2072429"/>
                  <a:gd name="connsiteY17" fmla="*/ 382371 h 2561350"/>
                  <a:gd name="connsiteX18" fmla="*/ 827923 w 2072429"/>
                  <a:gd name="connsiteY18" fmla="*/ 389002 h 2561350"/>
                  <a:gd name="connsiteX19" fmla="*/ 793019 w 2072429"/>
                  <a:gd name="connsiteY19" fmla="*/ 283670 h 2561350"/>
                  <a:gd name="connsiteX20" fmla="*/ 1028762 w 2072429"/>
                  <a:gd name="connsiteY20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997927 w 2072429"/>
                  <a:gd name="connsiteY5" fmla="*/ 118007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1048 w 2072429"/>
                  <a:gd name="connsiteY5" fmla="*/ 1030865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1048 w 2072429"/>
                  <a:gd name="connsiteY5" fmla="*/ 1030865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9052 w 2069854"/>
                  <a:gd name="connsiteY0" fmla="*/ 3 h 2561350"/>
                  <a:gd name="connsiteX1" fmla="*/ 1243365 w 2069854"/>
                  <a:gd name="connsiteY1" fmla="*/ 286050 h 2561350"/>
                  <a:gd name="connsiteX2" fmla="*/ 1221229 w 2069854"/>
                  <a:gd name="connsiteY2" fmla="*/ 389002 h 2561350"/>
                  <a:gd name="connsiteX3" fmla="*/ 1960083 w 2069854"/>
                  <a:gd name="connsiteY3" fmla="*/ 361648 h 2561350"/>
                  <a:gd name="connsiteX4" fmla="*/ 2067846 w 2069854"/>
                  <a:gd name="connsiteY4" fmla="*/ 961234 h 2561350"/>
                  <a:gd name="connsiteX5" fmla="*/ 1881338 w 2069854"/>
                  <a:gd name="connsiteY5" fmla="*/ 1030865 h 2561350"/>
                  <a:gd name="connsiteX6" fmla="*/ 1847663 w 2069854"/>
                  <a:gd name="connsiteY6" fmla="*/ 1535481 h 2561350"/>
                  <a:gd name="connsiteX7" fmla="*/ 2065360 w 2069854"/>
                  <a:gd name="connsiteY7" fmla="*/ 1597847 h 2561350"/>
                  <a:gd name="connsiteX8" fmla="*/ 1952623 w 2069854"/>
                  <a:gd name="connsiteY8" fmla="*/ 2180265 h 2561350"/>
                  <a:gd name="connsiteX9" fmla="*/ 1223492 w 2069854"/>
                  <a:gd name="connsiteY9" fmla="*/ 2167002 h 2561350"/>
                  <a:gd name="connsiteX10" fmla="*/ 1243365 w 2069854"/>
                  <a:gd name="connsiteY10" fmla="*/ 2275300 h 2561350"/>
                  <a:gd name="connsiteX11" fmla="*/ 793309 w 2069854"/>
                  <a:gd name="connsiteY11" fmla="*/ 2277680 h 2561350"/>
                  <a:gd name="connsiteX12" fmla="*/ 823242 w 2069854"/>
                  <a:gd name="connsiteY12" fmla="*/ 2167002 h 2561350"/>
                  <a:gd name="connsiteX13" fmla="*/ 117884 w 2069854"/>
                  <a:gd name="connsiteY13" fmla="*/ 2215080 h 2561350"/>
                  <a:gd name="connsiteX14" fmla="*/ 1340 w 2069854"/>
                  <a:gd name="connsiteY14" fmla="*/ 1657531 h 2561350"/>
                  <a:gd name="connsiteX15" fmla="*/ 271736 w 2069854"/>
                  <a:gd name="connsiteY15" fmla="*/ 1561668 h 2561350"/>
                  <a:gd name="connsiteX16" fmla="*/ 249462 w 2069854"/>
                  <a:gd name="connsiteY16" fmla="*/ 1045298 h 2561350"/>
                  <a:gd name="connsiteX17" fmla="*/ 8800 w 2069854"/>
                  <a:gd name="connsiteY17" fmla="*/ 1018431 h 2561350"/>
                  <a:gd name="connsiteX18" fmla="*/ 110423 w 2069854"/>
                  <a:gd name="connsiteY18" fmla="*/ 382371 h 2561350"/>
                  <a:gd name="connsiteX19" fmla="*/ 828213 w 2069854"/>
                  <a:gd name="connsiteY19" fmla="*/ 389002 h 2561350"/>
                  <a:gd name="connsiteX20" fmla="*/ 793309 w 2069854"/>
                  <a:gd name="connsiteY20" fmla="*/ 283670 h 2561350"/>
                  <a:gd name="connsiteX21" fmla="*/ 1029052 w 2069854"/>
                  <a:gd name="connsiteY21" fmla="*/ 3 h 2561350"/>
                  <a:gd name="connsiteX0" fmla="*/ 1029052 w 2069854"/>
                  <a:gd name="connsiteY0" fmla="*/ 3 h 2561350"/>
                  <a:gd name="connsiteX1" fmla="*/ 1243365 w 2069854"/>
                  <a:gd name="connsiteY1" fmla="*/ 286050 h 2561350"/>
                  <a:gd name="connsiteX2" fmla="*/ 1221229 w 2069854"/>
                  <a:gd name="connsiteY2" fmla="*/ 389002 h 2561350"/>
                  <a:gd name="connsiteX3" fmla="*/ 1960083 w 2069854"/>
                  <a:gd name="connsiteY3" fmla="*/ 361648 h 2561350"/>
                  <a:gd name="connsiteX4" fmla="*/ 2067846 w 2069854"/>
                  <a:gd name="connsiteY4" fmla="*/ 961234 h 2561350"/>
                  <a:gd name="connsiteX5" fmla="*/ 1881338 w 2069854"/>
                  <a:gd name="connsiteY5" fmla="*/ 1030865 h 2561350"/>
                  <a:gd name="connsiteX6" fmla="*/ 1847663 w 2069854"/>
                  <a:gd name="connsiteY6" fmla="*/ 1535481 h 2561350"/>
                  <a:gd name="connsiteX7" fmla="*/ 2065360 w 2069854"/>
                  <a:gd name="connsiteY7" fmla="*/ 1597847 h 2561350"/>
                  <a:gd name="connsiteX8" fmla="*/ 1952623 w 2069854"/>
                  <a:gd name="connsiteY8" fmla="*/ 2180265 h 2561350"/>
                  <a:gd name="connsiteX9" fmla="*/ 1223492 w 2069854"/>
                  <a:gd name="connsiteY9" fmla="*/ 2167002 h 2561350"/>
                  <a:gd name="connsiteX10" fmla="*/ 1243365 w 2069854"/>
                  <a:gd name="connsiteY10" fmla="*/ 2275300 h 2561350"/>
                  <a:gd name="connsiteX11" fmla="*/ 793309 w 2069854"/>
                  <a:gd name="connsiteY11" fmla="*/ 2277680 h 2561350"/>
                  <a:gd name="connsiteX12" fmla="*/ 823242 w 2069854"/>
                  <a:gd name="connsiteY12" fmla="*/ 2167002 h 2561350"/>
                  <a:gd name="connsiteX13" fmla="*/ 117884 w 2069854"/>
                  <a:gd name="connsiteY13" fmla="*/ 2215080 h 2561350"/>
                  <a:gd name="connsiteX14" fmla="*/ 1340 w 2069854"/>
                  <a:gd name="connsiteY14" fmla="*/ 1657531 h 2561350"/>
                  <a:gd name="connsiteX15" fmla="*/ 271736 w 2069854"/>
                  <a:gd name="connsiteY15" fmla="*/ 1561668 h 2561350"/>
                  <a:gd name="connsiteX16" fmla="*/ 249462 w 2069854"/>
                  <a:gd name="connsiteY16" fmla="*/ 1045298 h 2561350"/>
                  <a:gd name="connsiteX17" fmla="*/ 8800 w 2069854"/>
                  <a:gd name="connsiteY17" fmla="*/ 1018431 h 2561350"/>
                  <a:gd name="connsiteX18" fmla="*/ 110423 w 2069854"/>
                  <a:gd name="connsiteY18" fmla="*/ 382371 h 2561350"/>
                  <a:gd name="connsiteX19" fmla="*/ 828213 w 2069854"/>
                  <a:gd name="connsiteY19" fmla="*/ 389002 h 2561350"/>
                  <a:gd name="connsiteX20" fmla="*/ 793309 w 2069854"/>
                  <a:gd name="connsiteY20" fmla="*/ 283670 h 2561350"/>
                  <a:gd name="connsiteX21" fmla="*/ 1029052 w 2069854"/>
                  <a:gd name="connsiteY21" fmla="*/ 3 h 2561350"/>
                  <a:gd name="connsiteX0" fmla="*/ 1029052 w 2069854"/>
                  <a:gd name="connsiteY0" fmla="*/ 3 h 2561350"/>
                  <a:gd name="connsiteX1" fmla="*/ 1243365 w 2069854"/>
                  <a:gd name="connsiteY1" fmla="*/ 286050 h 2561350"/>
                  <a:gd name="connsiteX2" fmla="*/ 1221229 w 2069854"/>
                  <a:gd name="connsiteY2" fmla="*/ 389002 h 2561350"/>
                  <a:gd name="connsiteX3" fmla="*/ 1960083 w 2069854"/>
                  <a:gd name="connsiteY3" fmla="*/ 361648 h 2561350"/>
                  <a:gd name="connsiteX4" fmla="*/ 2067846 w 2069854"/>
                  <a:gd name="connsiteY4" fmla="*/ 961234 h 2561350"/>
                  <a:gd name="connsiteX5" fmla="*/ 1881338 w 2069854"/>
                  <a:gd name="connsiteY5" fmla="*/ 1030865 h 2561350"/>
                  <a:gd name="connsiteX6" fmla="*/ 1847663 w 2069854"/>
                  <a:gd name="connsiteY6" fmla="*/ 1535481 h 2561350"/>
                  <a:gd name="connsiteX7" fmla="*/ 2065360 w 2069854"/>
                  <a:gd name="connsiteY7" fmla="*/ 1597847 h 2561350"/>
                  <a:gd name="connsiteX8" fmla="*/ 1952623 w 2069854"/>
                  <a:gd name="connsiteY8" fmla="*/ 2180265 h 2561350"/>
                  <a:gd name="connsiteX9" fmla="*/ 1223492 w 2069854"/>
                  <a:gd name="connsiteY9" fmla="*/ 2167002 h 2561350"/>
                  <a:gd name="connsiteX10" fmla="*/ 1243365 w 2069854"/>
                  <a:gd name="connsiteY10" fmla="*/ 2275300 h 2561350"/>
                  <a:gd name="connsiteX11" fmla="*/ 793309 w 2069854"/>
                  <a:gd name="connsiteY11" fmla="*/ 2277680 h 2561350"/>
                  <a:gd name="connsiteX12" fmla="*/ 723771 w 2069854"/>
                  <a:gd name="connsiteY12" fmla="*/ 2109806 h 2561350"/>
                  <a:gd name="connsiteX13" fmla="*/ 117884 w 2069854"/>
                  <a:gd name="connsiteY13" fmla="*/ 2215080 h 2561350"/>
                  <a:gd name="connsiteX14" fmla="*/ 1340 w 2069854"/>
                  <a:gd name="connsiteY14" fmla="*/ 1657531 h 2561350"/>
                  <a:gd name="connsiteX15" fmla="*/ 271736 w 2069854"/>
                  <a:gd name="connsiteY15" fmla="*/ 1561668 h 2561350"/>
                  <a:gd name="connsiteX16" fmla="*/ 249462 w 2069854"/>
                  <a:gd name="connsiteY16" fmla="*/ 1045298 h 2561350"/>
                  <a:gd name="connsiteX17" fmla="*/ 8800 w 2069854"/>
                  <a:gd name="connsiteY17" fmla="*/ 1018431 h 2561350"/>
                  <a:gd name="connsiteX18" fmla="*/ 110423 w 2069854"/>
                  <a:gd name="connsiteY18" fmla="*/ 382371 h 2561350"/>
                  <a:gd name="connsiteX19" fmla="*/ 828213 w 2069854"/>
                  <a:gd name="connsiteY19" fmla="*/ 389002 h 2561350"/>
                  <a:gd name="connsiteX20" fmla="*/ 793309 w 2069854"/>
                  <a:gd name="connsiteY20" fmla="*/ 283670 h 2561350"/>
                  <a:gd name="connsiteX21" fmla="*/ 1029052 w 2069854"/>
                  <a:gd name="connsiteY21" fmla="*/ 3 h 2561350"/>
                  <a:gd name="connsiteX0" fmla="*/ 1029052 w 2069854"/>
                  <a:gd name="connsiteY0" fmla="*/ 3 h 2561350"/>
                  <a:gd name="connsiteX1" fmla="*/ 1243365 w 2069854"/>
                  <a:gd name="connsiteY1" fmla="*/ 286050 h 2561350"/>
                  <a:gd name="connsiteX2" fmla="*/ 1221229 w 2069854"/>
                  <a:gd name="connsiteY2" fmla="*/ 389002 h 2561350"/>
                  <a:gd name="connsiteX3" fmla="*/ 1960083 w 2069854"/>
                  <a:gd name="connsiteY3" fmla="*/ 361648 h 2561350"/>
                  <a:gd name="connsiteX4" fmla="*/ 2067846 w 2069854"/>
                  <a:gd name="connsiteY4" fmla="*/ 961234 h 2561350"/>
                  <a:gd name="connsiteX5" fmla="*/ 1881338 w 2069854"/>
                  <a:gd name="connsiteY5" fmla="*/ 1030865 h 2561350"/>
                  <a:gd name="connsiteX6" fmla="*/ 1847663 w 2069854"/>
                  <a:gd name="connsiteY6" fmla="*/ 1535481 h 2561350"/>
                  <a:gd name="connsiteX7" fmla="*/ 2065360 w 2069854"/>
                  <a:gd name="connsiteY7" fmla="*/ 1597847 h 2561350"/>
                  <a:gd name="connsiteX8" fmla="*/ 1952623 w 2069854"/>
                  <a:gd name="connsiteY8" fmla="*/ 2180265 h 2561350"/>
                  <a:gd name="connsiteX9" fmla="*/ 1223492 w 2069854"/>
                  <a:gd name="connsiteY9" fmla="*/ 2167002 h 2561350"/>
                  <a:gd name="connsiteX10" fmla="*/ 1243365 w 2069854"/>
                  <a:gd name="connsiteY10" fmla="*/ 2275300 h 2561350"/>
                  <a:gd name="connsiteX11" fmla="*/ 793309 w 2069854"/>
                  <a:gd name="connsiteY11" fmla="*/ 2277680 h 2561350"/>
                  <a:gd name="connsiteX12" fmla="*/ 723771 w 2069854"/>
                  <a:gd name="connsiteY12" fmla="*/ 2109806 h 2561350"/>
                  <a:gd name="connsiteX13" fmla="*/ 117884 w 2069854"/>
                  <a:gd name="connsiteY13" fmla="*/ 2215080 h 2561350"/>
                  <a:gd name="connsiteX14" fmla="*/ 1340 w 2069854"/>
                  <a:gd name="connsiteY14" fmla="*/ 1657531 h 2561350"/>
                  <a:gd name="connsiteX15" fmla="*/ 271736 w 2069854"/>
                  <a:gd name="connsiteY15" fmla="*/ 1561668 h 2561350"/>
                  <a:gd name="connsiteX16" fmla="*/ 249462 w 2069854"/>
                  <a:gd name="connsiteY16" fmla="*/ 1045298 h 2561350"/>
                  <a:gd name="connsiteX17" fmla="*/ 8800 w 2069854"/>
                  <a:gd name="connsiteY17" fmla="*/ 1018431 h 2561350"/>
                  <a:gd name="connsiteX18" fmla="*/ 110423 w 2069854"/>
                  <a:gd name="connsiteY18" fmla="*/ 382371 h 2561350"/>
                  <a:gd name="connsiteX19" fmla="*/ 828213 w 2069854"/>
                  <a:gd name="connsiteY19" fmla="*/ 389002 h 2561350"/>
                  <a:gd name="connsiteX20" fmla="*/ 793309 w 2069854"/>
                  <a:gd name="connsiteY20" fmla="*/ 283670 h 2561350"/>
                  <a:gd name="connsiteX21" fmla="*/ 1029052 w 2069854"/>
                  <a:gd name="connsiteY21" fmla="*/ 3 h 2561350"/>
                  <a:gd name="connsiteX0" fmla="*/ 1029052 w 2069854"/>
                  <a:gd name="connsiteY0" fmla="*/ 3 h 2561350"/>
                  <a:gd name="connsiteX1" fmla="*/ 1243365 w 2069854"/>
                  <a:gd name="connsiteY1" fmla="*/ 286050 h 2561350"/>
                  <a:gd name="connsiteX2" fmla="*/ 1221229 w 2069854"/>
                  <a:gd name="connsiteY2" fmla="*/ 389002 h 2561350"/>
                  <a:gd name="connsiteX3" fmla="*/ 1960083 w 2069854"/>
                  <a:gd name="connsiteY3" fmla="*/ 361648 h 2561350"/>
                  <a:gd name="connsiteX4" fmla="*/ 2067846 w 2069854"/>
                  <a:gd name="connsiteY4" fmla="*/ 961234 h 2561350"/>
                  <a:gd name="connsiteX5" fmla="*/ 1881338 w 2069854"/>
                  <a:gd name="connsiteY5" fmla="*/ 1030865 h 2561350"/>
                  <a:gd name="connsiteX6" fmla="*/ 1847663 w 2069854"/>
                  <a:gd name="connsiteY6" fmla="*/ 1535481 h 2561350"/>
                  <a:gd name="connsiteX7" fmla="*/ 2065360 w 2069854"/>
                  <a:gd name="connsiteY7" fmla="*/ 1597847 h 2561350"/>
                  <a:gd name="connsiteX8" fmla="*/ 1952623 w 2069854"/>
                  <a:gd name="connsiteY8" fmla="*/ 2180265 h 2561350"/>
                  <a:gd name="connsiteX9" fmla="*/ 1223492 w 2069854"/>
                  <a:gd name="connsiteY9" fmla="*/ 2167002 h 2561350"/>
                  <a:gd name="connsiteX10" fmla="*/ 1243365 w 2069854"/>
                  <a:gd name="connsiteY10" fmla="*/ 2275300 h 2561350"/>
                  <a:gd name="connsiteX11" fmla="*/ 793309 w 2069854"/>
                  <a:gd name="connsiteY11" fmla="*/ 2277680 h 2561350"/>
                  <a:gd name="connsiteX12" fmla="*/ 723771 w 2069854"/>
                  <a:gd name="connsiteY12" fmla="*/ 2109806 h 2561350"/>
                  <a:gd name="connsiteX13" fmla="*/ 117884 w 2069854"/>
                  <a:gd name="connsiteY13" fmla="*/ 2215080 h 2561350"/>
                  <a:gd name="connsiteX14" fmla="*/ 1340 w 2069854"/>
                  <a:gd name="connsiteY14" fmla="*/ 1657531 h 2561350"/>
                  <a:gd name="connsiteX15" fmla="*/ 271736 w 2069854"/>
                  <a:gd name="connsiteY15" fmla="*/ 1561668 h 2561350"/>
                  <a:gd name="connsiteX16" fmla="*/ 249462 w 2069854"/>
                  <a:gd name="connsiteY16" fmla="*/ 1045298 h 2561350"/>
                  <a:gd name="connsiteX17" fmla="*/ 8800 w 2069854"/>
                  <a:gd name="connsiteY17" fmla="*/ 1018431 h 2561350"/>
                  <a:gd name="connsiteX18" fmla="*/ 110423 w 2069854"/>
                  <a:gd name="connsiteY18" fmla="*/ 382371 h 2561350"/>
                  <a:gd name="connsiteX19" fmla="*/ 828213 w 2069854"/>
                  <a:gd name="connsiteY19" fmla="*/ 389002 h 2561350"/>
                  <a:gd name="connsiteX20" fmla="*/ 793309 w 2069854"/>
                  <a:gd name="connsiteY20" fmla="*/ 283670 h 2561350"/>
                  <a:gd name="connsiteX21" fmla="*/ 1029052 w 2069854"/>
                  <a:gd name="connsiteY21" fmla="*/ 3 h 2561350"/>
                  <a:gd name="connsiteX0" fmla="*/ 1029052 w 2069854"/>
                  <a:gd name="connsiteY0" fmla="*/ 3 h 2561350"/>
                  <a:gd name="connsiteX1" fmla="*/ 1243365 w 2069854"/>
                  <a:gd name="connsiteY1" fmla="*/ 286050 h 2561350"/>
                  <a:gd name="connsiteX2" fmla="*/ 1221229 w 2069854"/>
                  <a:gd name="connsiteY2" fmla="*/ 389002 h 2561350"/>
                  <a:gd name="connsiteX3" fmla="*/ 1960083 w 2069854"/>
                  <a:gd name="connsiteY3" fmla="*/ 361648 h 2561350"/>
                  <a:gd name="connsiteX4" fmla="*/ 2067846 w 2069854"/>
                  <a:gd name="connsiteY4" fmla="*/ 961234 h 2561350"/>
                  <a:gd name="connsiteX5" fmla="*/ 1881338 w 2069854"/>
                  <a:gd name="connsiteY5" fmla="*/ 1030865 h 2561350"/>
                  <a:gd name="connsiteX6" fmla="*/ 1847663 w 2069854"/>
                  <a:gd name="connsiteY6" fmla="*/ 1535481 h 2561350"/>
                  <a:gd name="connsiteX7" fmla="*/ 2065360 w 2069854"/>
                  <a:gd name="connsiteY7" fmla="*/ 1597847 h 2561350"/>
                  <a:gd name="connsiteX8" fmla="*/ 1952623 w 2069854"/>
                  <a:gd name="connsiteY8" fmla="*/ 2180265 h 2561350"/>
                  <a:gd name="connsiteX9" fmla="*/ 1223492 w 2069854"/>
                  <a:gd name="connsiteY9" fmla="*/ 2167002 h 2561350"/>
                  <a:gd name="connsiteX10" fmla="*/ 1243365 w 2069854"/>
                  <a:gd name="connsiteY10" fmla="*/ 2275300 h 2561350"/>
                  <a:gd name="connsiteX11" fmla="*/ 793309 w 2069854"/>
                  <a:gd name="connsiteY11" fmla="*/ 2277680 h 2561350"/>
                  <a:gd name="connsiteX12" fmla="*/ 723771 w 2069854"/>
                  <a:gd name="connsiteY12" fmla="*/ 2109806 h 2561350"/>
                  <a:gd name="connsiteX13" fmla="*/ 117884 w 2069854"/>
                  <a:gd name="connsiteY13" fmla="*/ 2215080 h 2561350"/>
                  <a:gd name="connsiteX14" fmla="*/ 1340 w 2069854"/>
                  <a:gd name="connsiteY14" fmla="*/ 1657531 h 2561350"/>
                  <a:gd name="connsiteX15" fmla="*/ 271736 w 2069854"/>
                  <a:gd name="connsiteY15" fmla="*/ 1561668 h 2561350"/>
                  <a:gd name="connsiteX16" fmla="*/ 249462 w 2069854"/>
                  <a:gd name="connsiteY16" fmla="*/ 1045298 h 2561350"/>
                  <a:gd name="connsiteX17" fmla="*/ 8800 w 2069854"/>
                  <a:gd name="connsiteY17" fmla="*/ 1018431 h 2561350"/>
                  <a:gd name="connsiteX18" fmla="*/ 110423 w 2069854"/>
                  <a:gd name="connsiteY18" fmla="*/ 382371 h 2561350"/>
                  <a:gd name="connsiteX19" fmla="*/ 828213 w 2069854"/>
                  <a:gd name="connsiteY19" fmla="*/ 389002 h 2561350"/>
                  <a:gd name="connsiteX20" fmla="*/ 793309 w 2069854"/>
                  <a:gd name="connsiteY20" fmla="*/ 283670 h 2561350"/>
                  <a:gd name="connsiteX21" fmla="*/ 1029052 w 2069854"/>
                  <a:gd name="connsiteY21" fmla="*/ 3 h 2561350"/>
                  <a:gd name="connsiteX0" fmla="*/ 1029052 w 2069854"/>
                  <a:gd name="connsiteY0" fmla="*/ 3 h 2561350"/>
                  <a:gd name="connsiteX1" fmla="*/ 1243365 w 2069854"/>
                  <a:gd name="connsiteY1" fmla="*/ 286050 h 2561350"/>
                  <a:gd name="connsiteX2" fmla="*/ 1221229 w 2069854"/>
                  <a:gd name="connsiteY2" fmla="*/ 389002 h 2561350"/>
                  <a:gd name="connsiteX3" fmla="*/ 1960083 w 2069854"/>
                  <a:gd name="connsiteY3" fmla="*/ 361648 h 2561350"/>
                  <a:gd name="connsiteX4" fmla="*/ 2067846 w 2069854"/>
                  <a:gd name="connsiteY4" fmla="*/ 961234 h 2561350"/>
                  <a:gd name="connsiteX5" fmla="*/ 1881338 w 2069854"/>
                  <a:gd name="connsiteY5" fmla="*/ 1030865 h 2561350"/>
                  <a:gd name="connsiteX6" fmla="*/ 1847663 w 2069854"/>
                  <a:gd name="connsiteY6" fmla="*/ 1535481 h 2561350"/>
                  <a:gd name="connsiteX7" fmla="*/ 2065360 w 2069854"/>
                  <a:gd name="connsiteY7" fmla="*/ 1597847 h 2561350"/>
                  <a:gd name="connsiteX8" fmla="*/ 1952623 w 2069854"/>
                  <a:gd name="connsiteY8" fmla="*/ 2180265 h 2561350"/>
                  <a:gd name="connsiteX9" fmla="*/ 1223492 w 2069854"/>
                  <a:gd name="connsiteY9" fmla="*/ 2167002 h 2561350"/>
                  <a:gd name="connsiteX10" fmla="*/ 1243365 w 2069854"/>
                  <a:gd name="connsiteY10" fmla="*/ 2275300 h 2561350"/>
                  <a:gd name="connsiteX11" fmla="*/ 793309 w 2069854"/>
                  <a:gd name="connsiteY11" fmla="*/ 2277680 h 2561350"/>
                  <a:gd name="connsiteX12" fmla="*/ 723771 w 2069854"/>
                  <a:gd name="connsiteY12" fmla="*/ 2109806 h 2561350"/>
                  <a:gd name="connsiteX13" fmla="*/ 117884 w 2069854"/>
                  <a:gd name="connsiteY13" fmla="*/ 2215080 h 2561350"/>
                  <a:gd name="connsiteX14" fmla="*/ 1340 w 2069854"/>
                  <a:gd name="connsiteY14" fmla="*/ 1657531 h 2561350"/>
                  <a:gd name="connsiteX15" fmla="*/ 271736 w 2069854"/>
                  <a:gd name="connsiteY15" fmla="*/ 1561668 h 2561350"/>
                  <a:gd name="connsiteX16" fmla="*/ 249462 w 2069854"/>
                  <a:gd name="connsiteY16" fmla="*/ 1045298 h 2561350"/>
                  <a:gd name="connsiteX17" fmla="*/ 8800 w 2069854"/>
                  <a:gd name="connsiteY17" fmla="*/ 1018431 h 2561350"/>
                  <a:gd name="connsiteX18" fmla="*/ 110423 w 2069854"/>
                  <a:gd name="connsiteY18" fmla="*/ 382371 h 2561350"/>
                  <a:gd name="connsiteX19" fmla="*/ 828213 w 2069854"/>
                  <a:gd name="connsiteY19" fmla="*/ 389002 h 2561350"/>
                  <a:gd name="connsiteX20" fmla="*/ 793309 w 2069854"/>
                  <a:gd name="connsiteY20" fmla="*/ 283670 h 2561350"/>
                  <a:gd name="connsiteX21" fmla="*/ 1029052 w 2069854"/>
                  <a:gd name="connsiteY21" fmla="*/ 3 h 2561350"/>
                  <a:gd name="connsiteX0" fmla="*/ 1029052 w 2069854"/>
                  <a:gd name="connsiteY0" fmla="*/ 3 h 2561350"/>
                  <a:gd name="connsiteX1" fmla="*/ 1243365 w 2069854"/>
                  <a:gd name="connsiteY1" fmla="*/ 286050 h 2561350"/>
                  <a:gd name="connsiteX2" fmla="*/ 1221229 w 2069854"/>
                  <a:gd name="connsiteY2" fmla="*/ 389002 h 2561350"/>
                  <a:gd name="connsiteX3" fmla="*/ 1960083 w 2069854"/>
                  <a:gd name="connsiteY3" fmla="*/ 361648 h 2561350"/>
                  <a:gd name="connsiteX4" fmla="*/ 2067846 w 2069854"/>
                  <a:gd name="connsiteY4" fmla="*/ 961234 h 2561350"/>
                  <a:gd name="connsiteX5" fmla="*/ 1881338 w 2069854"/>
                  <a:gd name="connsiteY5" fmla="*/ 1030865 h 2561350"/>
                  <a:gd name="connsiteX6" fmla="*/ 1847663 w 2069854"/>
                  <a:gd name="connsiteY6" fmla="*/ 1535481 h 2561350"/>
                  <a:gd name="connsiteX7" fmla="*/ 2065360 w 2069854"/>
                  <a:gd name="connsiteY7" fmla="*/ 1597847 h 2561350"/>
                  <a:gd name="connsiteX8" fmla="*/ 1952623 w 2069854"/>
                  <a:gd name="connsiteY8" fmla="*/ 2180265 h 2561350"/>
                  <a:gd name="connsiteX9" fmla="*/ 1223492 w 2069854"/>
                  <a:gd name="connsiteY9" fmla="*/ 2167002 h 2561350"/>
                  <a:gd name="connsiteX10" fmla="*/ 1243365 w 2069854"/>
                  <a:gd name="connsiteY10" fmla="*/ 2275300 h 2561350"/>
                  <a:gd name="connsiteX11" fmla="*/ 803256 w 2069854"/>
                  <a:gd name="connsiteY11" fmla="*/ 2277680 h 2561350"/>
                  <a:gd name="connsiteX12" fmla="*/ 723771 w 2069854"/>
                  <a:gd name="connsiteY12" fmla="*/ 2109806 h 2561350"/>
                  <a:gd name="connsiteX13" fmla="*/ 117884 w 2069854"/>
                  <a:gd name="connsiteY13" fmla="*/ 2215080 h 2561350"/>
                  <a:gd name="connsiteX14" fmla="*/ 1340 w 2069854"/>
                  <a:gd name="connsiteY14" fmla="*/ 1657531 h 2561350"/>
                  <a:gd name="connsiteX15" fmla="*/ 271736 w 2069854"/>
                  <a:gd name="connsiteY15" fmla="*/ 1561668 h 2561350"/>
                  <a:gd name="connsiteX16" fmla="*/ 249462 w 2069854"/>
                  <a:gd name="connsiteY16" fmla="*/ 1045298 h 2561350"/>
                  <a:gd name="connsiteX17" fmla="*/ 8800 w 2069854"/>
                  <a:gd name="connsiteY17" fmla="*/ 1018431 h 2561350"/>
                  <a:gd name="connsiteX18" fmla="*/ 110423 w 2069854"/>
                  <a:gd name="connsiteY18" fmla="*/ 382371 h 2561350"/>
                  <a:gd name="connsiteX19" fmla="*/ 828213 w 2069854"/>
                  <a:gd name="connsiteY19" fmla="*/ 389002 h 2561350"/>
                  <a:gd name="connsiteX20" fmla="*/ 793309 w 2069854"/>
                  <a:gd name="connsiteY20" fmla="*/ 283670 h 2561350"/>
                  <a:gd name="connsiteX21" fmla="*/ 1029052 w 2069854"/>
                  <a:gd name="connsiteY21" fmla="*/ 3 h 2561350"/>
                  <a:gd name="connsiteX0" fmla="*/ 1029052 w 2069854"/>
                  <a:gd name="connsiteY0" fmla="*/ 3 h 2561350"/>
                  <a:gd name="connsiteX1" fmla="*/ 1243365 w 2069854"/>
                  <a:gd name="connsiteY1" fmla="*/ 286050 h 2561350"/>
                  <a:gd name="connsiteX2" fmla="*/ 1221229 w 2069854"/>
                  <a:gd name="connsiteY2" fmla="*/ 389002 h 2561350"/>
                  <a:gd name="connsiteX3" fmla="*/ 1960083 w 2069854"/>
                  <a:gd name="connsiteY3" fmla="*/ 361648 h 2561350"/>
                  <a:gd name="connsiteX4" fmla="*/ 2067846 w 2069854"/>
                  <a:gd name="connsiteY4" fmla="*/ 961234 h 2561350"/>
                  <a:gd name="connsiteX5" fmla="*/ 1881338 w 2069854"/>
                  <a:gd name="connsiteY5" fmla="*/ 1030865 h 2561350"/>
                  <a:gd name="connsiteX6" fmla="*/ 1847663 w 2069854"/>
                  <a:gd name="connsiteY6" fmla="*/ 1535481 h 2561350"/>
                  <a:gd name="connsiteX7" fmla="*/ 2065360 w 2069854"/>
                  <a:gd name="connsiteY7" fmla="*/ 1597847 h 2561350"/>
                  <a:gd name="connsiteX8" fmla="*/ 1952623 w 2069854"/>
                  <a:gd name="connsiteY8" fmla="*/ 2180265 h 2561350"/>
                  <a:gd name="connsiteX9" fmla="*/ 1223492 w 2069854"/>
                  <a:gd name="connsiteY9" fmla="*/ 2167002 h 2561350"/>
                  <a:gd name="connsiteX10" fmla="*/ 1243365 w 2069854"/>
                  <a:gd name="connsiteY10" fmla="*/ 2275300 h 2561350"/>
                  <a:gd name="connsiteX11" fmla="*/ 803256 w 2069854"/>
                  <a:gd name="connsiteY11" fmla="*/ 2277680 h 2561350"/>
                  <a:gd name="connsiteX12" fmla="*/ 723771 w 2069854"/>
                  <a:gd name="connsiteY12" fmla="*/ 2109806 h 2561350"/>
                  <a:gd name="connsiteX13" fmla="*/ 117884 w 2069854"/>
                  <a:gd name="connsiteY13" fmla="*/ 2215080 h 2561350"/>
                  <a:gd name="connsiteX14" fmla="*/ 1340 w 2069854"/>
                  <a:gd name="connsiteY14" fmla="*/ 1657531 h 2561350"/>
                  <a:gd name="connsiteX15" fmla="*/ 271736 w 2069854"/>
                  <a:gd name="connsiteY15" fmla="*/ 1561668 h 2561350"/>
                  <a:gd name="connsiteX16" fmla="*/ 249462 w 2069854"/>
                  <a:gd name="connsiteY16" fmla="*/ 1045298 h 2561350"/>
                  <a:gd name="connsiteX17" fmla="*/ 8800 w 2069854"/>
                  <a:gd name="connsiteY17" fmla="*/ 1018431 h 2561350"/>
                  <a:gd name="connsiteX18" fmla="*/ 110423 w 2069854"/>
                  <a:gd name="connsiteY18" fmla="*/ 382371 h 2561350"/>
                  <a:gd name="connsiteX19" fmla="*/ 828213 w 2069854"/>
                  <a:gd name="connsiteY19" fmla="*/ 389002 h 2561350"/>
                  <a:gd name="connsiteX20" fmla="*/ 793309 w 2069854"/>
                  <a:gd name="connsiteY20" fmla="*/ 283670 h 2561350"/>
                  <a:gd name="connsiteX21" fmla="*/ 1029052 w 2069854"/>
                  <a:gd name="connsiteY21" fmla="*/ 3 h 2561350"/>
                  <a:gd name="connsiteX0" fmla="*/ 1029052 w 2069854"/>
                  <a:gd name="connsiteY0" fmla="*/ 3 h 2561350"/>
                  <a:gd name="connsiteX1" fmla="*/ 1243365 w 2069854"/>
                  <a:gd name="connsiteY1" fmla="*/ 286050 h 2561350"/>
                  <a:gd name="connsiteX2" fmla="*/ 1221229 w 2069854"/>
                  <a:gd name="connsiteY2" fmla="*/ 389002 h 2561350"/>
                  <a:gd name="connsiteX3" fmla="*/ 1960083 w 2069854"/>
                  <a:gd name="connsiteY3" fmla="*/ 361648 h 2561350"/>
                  <a:gd name="connsiteX4" fmla="*/ 2067846 w 2069854"/>
                  <a:gd name="connsiteY4" fmla="*/ 961234 h 2561350"/>
                  <a:gd name="connsiteX5" fmla="*/ 1881338 w 2069854"/>
                  <a:gd name="connsiteY5" fmla="*/ 1030865 h 2561350"/>
                  <a:gd name="connsiteX6" fmla="*/ 1847663 w 2069854"/>
                  <a:gd name="connsiteY6" fmla="*/ 1535481 h 2561350"/>
                  <a:gd name="connsiteX7" fmla="*/ 2065360 w 2069854"/>
                  <a:gd name="connsiteY7" fmla="*/ 1597847 h 2561350"/>
                  <a:gd name="connsiteX8" fmla="*/ 1952623 w 2069854"/>
                  <a:gd name="connsiteY8" fmla="*/ 2180265 h 2561350"/>
                  <a:gd name="connsiteX9" fmla="*/ 1223492 w 2069854"/>
                  <a:gd name="connsiteY9" fmla="*/ 2167002 h 2561350"/>
                  <a:gd name="connsiteX10" fmla="*/ 1243365 w 2069854"/>
                  <a:gd name="connsiteY10" fmla="*/ 2275300 h 2561350"/>
                  <a:gd name="connsiteX11" fmla="*/ 803256 w 2069854"/>
                  <a:gd name="connsiteY11" fmla="*/ 2277680 h 2561350"/>
                  <a:gd name="connsiteX12" fmla="*/ 723771 w 2069854"/>
                  <a:gd name="connsiteY12" fmla="*/ 2109806 h 2561350"/>
                  <a:gd name="connsiteX13" fmla="*/ 117884 w 2069854"/>
                  <a:gd name="connsiteY13" fmla="*/ 2215080 h 2561350"/>
                  <a:gd name="connsiteX14" fmla="*/ 1340 w 2069854"/>
                  <a:gd name="connsiteY14" fmla="*/ 1657531 h 2561350"/>
                  <a:gd name="connsiteX15" fmla="*/ 271736 w 2069854"/>
                  <a:gd name="connsiteY15" fmla="*/ 1561668 h 2561350"/>
                  <a:gd name="connsiteX16" fmla="*/ 249462 w 2069854"/>
                  <a:gd name="connsiteY16" fmla="*/ 1045298 h 2561350"/>
                  <a:gd name="connsiteX17" fmla="*/ 8800 w 2069854"/>
                  <a:gd name="connsiteY17" fmla="*/ 1018431 h 2561350"/>
                  <a:gd name="connsiteX18" fmla="*/ 110423 w 2069854"/>
                  <a:gd name="connsiteY18" fmla="*/ 382371 h 2561350"/>
                  <a:gd name="connsiteX19" fmla="*/ 828213 w 2069854"/>
                  <a:gd name="connsiteY19" fmla="*/ 389002 h 2561350"/>
                  <a:gd name="connsiteX20" fmla="*/ 793309 w 2069854"/>
                  <a:gd name="connsiteY20" fmla="*/ 283670 h 2561350"/>
                  <a:gd name="connsiteX21" fmla="*/ 1029052 w 2069854"/>
                  <a:gd name="connsiteY21" fmla="*/ 3 h 2561350"/>
                  <a:gd name="connsiteX0" fmla="*/ 1029052 w 2069854"/>
                  <a:gd name="connsiteY0" fmla="*/ 3 h 2561350"/>
                  <a:gd name="connsiteX1" fmla="*/ 1243365 w 2069854"/>
                  <a:gd name="connsiteY1" fmla="*/ 286050 h 2561350"/>
                  <a:gd name="connsiteX2" fmla="*/ 1221229 w 2069854"/>
                  <a:gd name="connsiteY2" fmla="*/ 389002 h 2561350"/>
                  <a:gd name="connsiteX3" fmla="*/ 1960083 w 2069854"/>
                  <a:gd name="connsiteY3" fmla="*/ 361648 h 2561350"/>
                  <a:gd name="connsiteX4" fmla="*/ 2067846 w 2069854"/>
                  <a:gd name="connsiteY4" fmla="*/ 961234 h 2561350"/>
                  <a:gd name="connsiteX5" fmla="*/ 1881338 w 2069854"/>
                  <a:gd name="connsiteY5" fmla="*/ 1030865 h 2561350"/>
                  <a:gd name="connsiteX6" fmla="*/ 1847663 w 2069854"/>
                  <a:gd name="connsiteY6" fmla="*/ 1535481 h 2561350"/>
                  <a:gd name="connsiteX7" fmla="*/ 2065360 w 2069854"/>
                  <a:gd name="connsiteY7" fmla="*/ 1597847 h 2561350"/>
                  <a:gd name="connsiteX8" fmla="*/ 1952623 w 2069854"/>
                  <a:gd name="connsiteY8" fmla="*/ 2187725 h 2561350"/>
                  <a:gd name="connsiteX9" fmla="*/ 1223492 w 2069854"/>
                  <a:gd name="connsiteY9" fmla="*/ 2167002 h 2561350"/>
                  <a:gd name="connsiteX10" fmla="*/ 1243365 w 2069854"/>
                  <a:gd name="connsiteY10" fmla="*/ 2275300 h 2561350"/>
                  <a:gd name="connsiteX11" fmla="*/ 803256 w 2069854"/>
                  <a:gd name="connsiteY11" fmla="*/ 2277680 h 2561350"/>
                  <a:gd name="connsiteX12" fmla="*/ 723771 w 2069854"/>
                  <a:gd name="connsiteY12" fmla="*/ 2109806 h 2561350"/>
                  <a:gd name="connsiteX13" fmla="*/ 117884 w 2069854"/>
                  <a:gd name="connsiteY13" fmla="*/ 2215080 h 2561350"/>
                  <a:gd name="connsiteX14" fmla="*/ 1340 w 2069854"/>
                  <a:gd name="connsiteY14" fmla="*/ 1657531 h 2561350"/>
                  <a:gd name="connsiteX15" fmla="*/ 271736 w 2069854"/>
                  <a:gd name="connsiteY15" fmla="*/ 1561668 h 2561350"/>
                  <a:gd name="connsiteX16" fmla="*/ 249462 w 2069854"/>
                  <a:gd name="connsiteY16" fmla="*/ 1045298 h 2561350"/>
                  <a:gd name="connsiteX17" fmla="*/ 8800 w 2069854"/>
                  <a:gd name="connsiteY17" fmla="*/ 1018431 h 2561350"/>
                  <a:gd name="connsiteX18" fmla="*/ 110423 w 2069854"/>
                  <a:gd name="connsiteY18" fmla="*/ 382371 h 2561350"/>
                  <a:gd name="connsiteX19" fmla="*/ 828213 w 2069854"/>
                  <a:gd name="connsiteY19" fmla="*/ 389002 h 2561350"/>
                  <a:gd name="connsiteX20" fmla="*/ 793309 w 2069854"/>
                  <a:gd name="connsiteY20" fmla="*/ 283670 h 2561350"/>
                  <a:gd name="connsiteX21" fmla="*/ 1029052 w 2069854"/>
                  <a:gd name="connsiteY21" fmla="*/ 3 h 2561350"/>
                  <a:gd name="connsiteX0" fmla="*/ 1029052 w 2069223"/>
                  <a:gd name="connsiteY0" fmla="*/ 3 h 2561350"/>
                  <a:gd name="connsiteX1" fmla="*/ 1243365 w 2069223"/>
                  <a:gd name="connsiteY1" fmla="*/ 286050 h 2561350"/>
                  <a:gd name="connsiteX2" fmla="*/ 1221229 w 2069223"/>
                  <a:gd name="connsiteY2" fmla="*/ 389002 h 2561350"/>
                  <a:gd name="connsiteX3" fmla="*/ 1960083 w 2069223"/>
                  <a:gd name="connsiteY3" fmla="*/ 361648 h 2561350"/>
                  <a:gd name="connsiteX4" fmla="*/ 2067846 w 2069223"/>
                  <a:gd name="connsiteY4" fmla="*/ 961234 h 2561350"/>
                  <a:gd name="connsiteX5" fmla="*/ 1881338 w 2069223"/>
                  <a:gd name="connsiteY5" fmla="*/ 1030865 h 2561350"/>
                  <a:gd name="connsiteX6" fmla="*/ 1847663 w 2069223"/>
                  <a:gd name="connsiteY6" fmla="*/ 1535481 h 2561350"/>
                  <a:gd name="connsiteX7" fmla="*/ 2065360 w 2069223"/>
                  <a:gd name="connsiteY7" fmla="*/ 1597847 h 2561350"/>
                  <a:gd name="connsiteX8" fmla="*/ 1945162 w 2069223"/>
                  <a:gd name="connsiteY8" fmla="*/ 2187725 h 2561350"/>
                  <a:gd name="connsiteX9" fmla="*/ 1223492 w 2069223"/>
                  <a:gd name="connsiteY9" fmla="*/ 2167002 h 2561350"/>
                  <a:gd name="connsiteX10" fmla="*/ 1243365 w 2069223"/>
                  <a:gd name="connsiteY10" fmla="*/ 2275300 h 2561350"/>
                  <a:gd name="connsiteX11" fmla="*/ 803256 w 2069223"/>
                  <a:gd name="connsiteY11" fmla="*/ 2277680 h 2561350"/>
                  <a:gd name="connsiteX12" fmla="*/ 723771 w 2069223"/>
                  <a:gd name="connsiteY12" fmla="*/ 2109806 h 2561350"/>
                  <a:gd name="connsiteX13" fmla="*/ 117884 w 2069223"/>
                  <a:gd name="connsiteY13" fmla="*/ 2215080 h 2561350"/>
                  <a:gd name="connsiteX14" fmla="*/ 1340 w 2069223"/>
                  <a:gd name="connsiteY14" fmla="*/ 1657531 h 2561350"/>
                  <a:gd name="connsiteX15" fmla="*/ 271736 w 2069223"/>
                  <a:gd name="connsiteY15" fmla="*/ 1561668 h 2561350"/>
                  <a:gd name="connsiteX16" fmla="*/ 249462 w 2069223"/>
                  <a:gd name="connsiteY16" fmla="*/ 1045298 h 2561350"/>
                  <a:gd name="connsiteX17" fmla="*/ 8800 w 2069223"/>
                  <a:gd name="connsiteY17" fmla="*/ 1018431 h 2561350"/>
                  <a:gd name="connsiteX18" fmla="*/ 110423 w 2069223"/>
                  <a:gd name="connsiteY18" fmla="*/ 382371 h 2561350"/>
                  <a:gd name="connsiteX19" fmla="*/ 828213 w 2069223"/>
                  <a:gd name="connsiteY19" fmla="*/ 389002 h 2561350"/>
                  <a:gd name="connsiteX20" fmla="*/ 793309 w 2069223"/>
                  <a:gd name="connsiteY20" fmla="*/ 283670 h 2561350"/>
                  <a:gd name="connsiteX21" fmla="*/ 1029052 w 2069223"/>
                  <a:gd name="connsiteY21" fmla="*/ 3 h 2561350"/>
                  <a:gd name="connsiteX0" fmla="*/ 1029052 w 2069223"/>
                  <a:gd name="connsiteY0" fmla="*/ 3 h 2561350"/>
                  <a:gd name="connsiteX1" fmla="*/ 1243365 w 2069223"/>
                  <a:gd name="connsiteY1" fmla="*/ 286050 h 2561350"/>
                  <a:gd name="connsiteX2" fmla="*/ 1221229 w 2069223"/>
                  <a:gd name="connsiteY2" fmla="*/ 389002 h 2561350"/>
                  <a:gd name="connsiteX3" fmla="*/ 1960083 w 2069223"/>
                  <a:gd name="connsiteY3" fmla="*/ 361648 h 2561350"/>
                  <a:gd name="connsiteX4" fmla="*/ 2067846 w 2069223"/>
                  <a:gd name="connsiteY4" fmla="*/ 961234 h 2561350"/>
                  <a:gd name="connsiteX5" fmla="*/ 1881338 w 2069223"/>
                  <a:gd name="connsiteY5" fmla="*/ 1030865 h 2561350"/>
                  <a:gd name="connsiteX6" fmla="*/ 1847663 w 2069223"/>
                  <a:gd name="connsiteY6" fmla="*/ 1535481 h 2561350"/>
                  <a:gd name="connsiteX7" fmla="*/ 2065360 w 2069223"/>
                  <a:gd name="connsiteY7" fmla="*/ 1597847 h 2561350"/>
                  <a:gd name="connsiteX8" fmla="*/ 1945162 w 2069223"/>
                  <a:gd name="connsiteY8" fmla="*/ 2187725 h 2561350"/>
                  <a:gd name="connsiteX9" fmla="*/ 1223492 w 2069223"/>
                  <a:gd name="connsiteY9" fmla="*/ 2167002 h 2561350"/>
                  <a:gd name="connsiteX10" fmla="*/ 1243365 w 2069223"/>
                  <a:gd name="connsiteY10" fmla="*/ 2275300 h 2561350"/>
                  <a:gd name="connsiteX11" fmla="*/ 803256 w 2069223"/>
                  <a:gd name="connsiteY11" fmla="*/ 2277680 h 2561350"/>
                  <a:gd name="connsiteX12" fmla="*/ 723771 w 2069223"/>
                  <a:gd name="connsiteY12" fmla="*/ 2109806 h 2561350"/>
                  <a:gd name="connsiteX13" fmla="*/ 117884 w 2069223"/>
                  <a:gd name="connsiteY13" fmla="*/ 2215080 h 2561350"/>
                  <a:gd name="connsiteX14" fmla="*/ 1340 w 2069223"/>
                  <a:gd name="connsiteY14" fmla="*/ 1657531 h 2561350"/>
                  <a:gd name="connsiteX15" fmla="*/ 271736 w 2069223"/>
                  <a:gd name="connsiteY15" fmla="*/ 1561668 h 2561350"/>
                  <a:gd name="connsiteX16" fmla="*/ 249462 w 2069223"/>
                  <a:gd name="connsiteY16" fmla="*/ 1045298 h 2561350"/>
                  <a:gd name="connsiteX17" fmla="*/ 8800 w 2069223"/>
                  <a:gd name="connsiteY17" fmla="*/ 1018431 h 2561350"/>
                  <a:gd name="connsiteX18" fmla="*/ 110423 w 2069223"/>
                  <a:gd name="connsiteY18" fmla="*/ 382371 h 2561350"/>
                  <a:gd name="connsiteX19" fmla="*/ 828213 w 2069223"/>
                  <a:gd name="connsiteY19" fmla="*/ 389002 h 2561350"/>
                  <a:gd name="connsiteX20" fmla="*/ 793309 w 2069223"/>
                  <a:gd name="connsiteY20" fmla="*/ 283670 h 2561350"/>
                  <a:gd name="connsiteX21" fmla="*/ 1029052 w 2069223"/>
                  <a:gd name="connsiteY21" fmla="*/ 3 h 2561350"/>
                  <a:gd name="connsiteX0" fmla="*/ 1029052 w 2069223"/>
                  <a:gd name="connsiteY0" fmla="*/ 3 h 2561350"/>
                  <a:gd name="connsiteX1" fmla="*/ 1243365 w 2069223"/>
                  <a:gd name="connsiteY1" fmla="*/ 286050 h 2561350"/>
                  <a:gd name="connsiteX2" fmla="*/ 1221229 w 2069223"/>
                  <a:gd name="connsiteY2" fmla="*/ 389002 h 2561350"/>
                  <a:gd name="connsiteX3" fmla="*/ 1960083 w 2069223"/>
                  <a:gd name="connsiteY3" fmla="*/ 361648 h 2561350"/>
                  <a:gd name="connsiteX4" fmla="*/ 2067846 w 2069223"/>
                  <a:gd name="connsiteY4" fmla="*/ 961234 h 2561350"/>
                  <a:gd name="connsiteX5" fmla="*/ 1881338 w 2069223"/>
                  <a:gd name="connsiteY5" fmla="*/ 1030865 h 2561350"/>
                  <a:gd name="connsiteX6" fmla="*/ 1847663 w 2069223"/>
                  <a:gd name="connsiteY6" fmla="*/ 1535481 h 2561350"/>
                  <a:gd name="connsiteX7" fmla="*/ 2065360 w 2069223"/>
                  <a:gd name="connsiteY7" fmla="*/ 1597847 h 2561350"/>
                  <a:gd name="connsiteX8" fmla="*/ 1945162 w 2069223"/>
                  <a:gd name="connsiteY8" fmla="*/ 2187725 h 2561350"/>
                  <a:gd name="connsiteX9" fmla="*/ 1223492 w 2069223"/>
                  <a:gd name="connsiteY9" fmla="*/ 2167002 h 2561350"/>
                  <a:gd name="connsiteX10" fmla="*/ 1243365 w 2069223"/>
                  <a:gd name="connsiteY10" fmla="*/ 2275300 h 2561350"/>
                  <a:gd name="connsiteX11" fmla="*/ 803256 w 2069223"/>
                  <a:gd name="connsiteY11" fmla="*/ 2277680 h 2561350"/>
                  <a:gd name="connsiteX12" fmla="*/ 723771 w 2069223"/>
                  <a:gd name="connsiteY12" fmla="*/ 2109806 h 2561350"/>
                  <a:gd name="connsiteX13" fmla="*/ 117884 w 2069223"/>
                  <a:gd name="connsiteY13" fmla="*/ 2215080 h 2561350"/>
                  <a:gd name="connsiteX14" fmla="*/ 1340 w 2069223"/>
                  <a:gd name="connsiteY14" fmla="*/ 1657531 h 2561350"/>
                  <a:gd name="connsiteX15" fmla="*/ 271736 w 2069223"/>
                  <a:gd name="connsiteY15" fmla="*/ 1561668 h 2561350"/>
                  <a:gd name="connsiteX16" fmla="*/ 249462 w 2069223"/>
                  <a:gd name="connsiteY16" fmla="*/ 1045298 h 2561350"/>
                  <a:gd name="connsiteX17" fmla="*/ 8800 w 2069223"/>
                  <a:gd name="connsiteY17" fmla="*/ 1018431 h 2561350"/>
                  <a:gd name="connsiteX18" fmla="*/ 110423 w 2069223"/>
                  <a:gd name="connsiteY18" fmla="*/ 382371 h 2561350"/>
                  <a:gd name="connsiteX19" fmla="*/ 828213 w 2069223"/>
                  <a:gd name="connsiteY19" fmla="*/ 389002 h 2561350"/>
                  <a:gd name="connsiteX20" fmla="*/ 793309 w 2069223"/>
                  <a:gd name="connsiteY20" fmla="*/ 283670 h 2561350"/>
                  <a:gd name="connsiteX21" fmla="*/ 1029052 w 2069223"/>
                  <a:gd name="connsiteY21" fmla="*/ 3 h 2561350"/>
                  <a:gd name="connsiteX0" fmla="*/ 1029052 w 2069223"/>
                  <a:gd name="connsiteY0" fmla="*/ 3 h 2561350"/>
                  <a:gd name="connsiteX1" fmla="*/ 1243365 w 2069223"/>
                  <a:gd name="connsiteY1" fmla="*/ 286050 h 2561350"/>
                  <a:gd name="connsiteX2" fmla="*/ 1221229 w 2069223"/>
                  <a:gd name="connsiteY2" fmla="*/ 389002 h 2561350"/>
                  <a:gd name="connsiteX3" fmla="*/ 1960083 w 2069223"/>
                  <a:gd name="connsiteY3" fmla="*/ 361648 h 2561350"/>
                  <a:gd name="connsiteX4" fmla="*/ 2067846 w 2069223"/>
                  <a:gd name="connsiteY4" fmla="*/ 961234 h 2561350"/>
                  <a:gd name="connsiteX5" fmla="*/ 1881338 w 2069223"/>
                  <a:gd name="connsiteY5" fmla="*/ 1030865 h 2561350"/>
                  <a:gd name="connsiteX6" fmla="*/ 1847663 w 2069223"/>
                  <a:gd name="connsiteY6" fmla="*/ 1535481 h 2561350"/>
                  <a:gd name="connsiteX7" fmla="*/ 2065360 w 2069223"/>
                  <a:gd name="connsiteY7" fmla="*/ 1597847 h 2561350"/>
                  <a:gd name="connsiteX8" fmla="*/ 1945162 w 2069223"/>
                  <a:gd name="connsiteY8" fmla="*/ 2187725 h 2561350"/>
                  <a:gd name="connsiteX9" fmla="*/ 1223492 w 2069223"/>
                  <a:gd name="connsiteY9" fmla="*/ 2167002 h 2561350"/>
                  <a:gd name="connsiteX10" fmla="*/ 1243365 w 2069223"/>
                  <a:gd name="connsiteY10" fmla="*/ 2275300 h 2561350"/>
                  <a:gd name="connsiteX11" fmla="*/ 803256 w 2069223"/>
                  <a:gd name="connsiteY11" fmla="*/ 2277680 h 2561350"/>
                  <a:gd name="connsiteX12" fmla="*/ 723771 w 2069223"/>
                  <a:gd name="connsiteY12" fmla="*/ 2109806 h 2561350"/>
                  <a:gd name="connsiteX13" fmla="*/ 117884 w 2069223"/>
                  <a:gd name="connsiteY13" fmla="*/ 2215080 h 2561350"/>
                  <a:gd name="connsiteX14" fmla="*/ 1340 w 2069223"/>
                  <a:gd name="connsiteY14" fmla="*/ 1657531 h 2561350"/>
                  <a:gd name="connsiteX15" fmla="*/ 271736 w 2069223"/>
                  <a:gd name="connsiteY15" fmla="*/ 1561668 h 2561350"/>
                  <a:gd name="connsiteX16" fmla="*/ 249462 w 2069223"/>
                  <a:gd name="connsiteY16" fmla="*/ 1045298 h 2561350"/>
                  <a:gd name="connsiteX17" fmla="*/ 8800 w 2069223"/>
                  <a:gd name="connsiteY17" fmla="*/ 1018431 h 2561350"/>
                  <a:gd name="connsiteX18" fmla="*/ 110423 w 2069223"/>
                  <a:gd name="connsiteY18" fmla="*/ 382371 h 2561350"/>
                  <a:gd name="connsiteX19" fmla="*/ 828213 w 2069223"/>
                  <a:gd name="connsiteY19" fmla="*/ 389002 h 2561350"/>
                  <a:gd name="connsiteX20" fmla="*/ 793309 w 2069223"/>
                  <a:gd name="connsiteY20" fmla="*/ 283670 h 2561350"/>
                  <a:gd name="connsiteX21" fmla="*/ 1029052 w 2069223"/>
                  <a:gd name="connsiteY21" fmla="*/ 3 h 256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69223" h="2561350">
                    <a:moveTo>
                      <a:pt x="1029052" y="3"/>
                    </a:moveTo>
                    <a:cubicBezTo>
                      <a:pt x="1198121" y="-691"/>
                      <a:pt x="1366104" y="120921"/>
                      <a:pt x="1243365" y="286050"/>
                    </a:cubicBezTo>
                    <a:cubicBezTo>
                      <a:pt x="1227255" y="315682"/>
                      <a:pt x="1215473" y="348101"/>
                      <a:pt x="1221229" y="389002"/>
                    </a:cubicBezTo>
                    <a:cubicBezTo>
                      <a:pt x="1226297" y="528261"/>
                      <a:pt x="1696392" y="461119"/>
                      <a:pt x="1960083" y="361648"/>
                    </a:cubicBezTo>
                    <a:cubicBezTo>
                      <a:pt x="2053938" y="496394"/>
                      <a:pt x="2071127" y="822506"/>
                      <a:pt x="2067846" y="961234"/>
                    </a:cubicBezTo>
                    <a:cubicBezTo>
                      <a:pt x="2071715" y="1080232"/>
                      <a:pt x="2015018" y="1106744"/>
                      <a:pt x="1881338" y="1030865"/>
                    </a:cubicBezTo>
                    <a:cubicBezTo>
                      <a:pt x="1484062" y="845572"/>
                      <a:pt x="1585310" y="1699608"/>
                      <a:pt x="1847663" y="1535481"/>
                    </a:cubicBezTo>
                    <a:cubicBezTo>
                      <a:pt x="1929415" y="1495441"/>
                      <a:pt x="2055329" y="1373504"/>
                      <a:pt x="2065360" y="1597847"/>
                    </a:cubicBezTo>
                    <a:cubicBezTo>
                      <a:pt x="2080367" y="1677957"/>
                      <a:pt x="2053974" y="2093695"/>
                      <a:pt x="1945162" y="2187725"/>
                    </a:cubicBezTo>
                    <a:cubicBezTo>
                      <a:pt x="1805733" y="2151252"/>
                      <a:pt x="1398565" y="2030230"/>
                      <a:pt x="1223492" y="2167002"/>
                    </a:cubicBezTo>
                    <a:cubicBezTo>
                      <a:pt x="1210011" y="2193452"/>
                      <a:pt x="1212813" y="2230274"/>
                      <a:pt x="1243365" y="2275300"/>
                    </a:cubicBezTo>
                    <a:cubicBezTo>
                      <a:pt x="1483871" y="2660267"/>
                      <a:pt x="591323" y="2652331"/>
                      <a:pt x="803256" y="2277680"/>
                    </a:cubicBezTo>
                    <a:cubicBezTo>
                      <a:pt x="852179" y="2213432"/>
                      <a:pt x="836244" y="2132321"/>
                      <a:pt x="723771" y="2109806"/>
                    </a:cubicBezTo>
                    <a:cubicBezTo>
                      <a:pt x="609542" y="2086940"/>
                      <a:pt x="401355" y="2119754"/>
                      <a:pt x="117884" y="2215080"/>
                    </a:cubicBezTo>
                    <a:cubicBezTo>
                      <a:pt x="25248" y="2145089"/>
                      <a:pt x="-7310" y="1771407"/>
                      <a:pt x="1340" y="1657531"/>
                    </a:cubicBezTo>
                    <a:cubicBezTo>
                      <a:pt x="24910" y="1416831"/>
                      <a:pt x="118063" y="1502066"/>
                      <a:pt x="271736" y="1561668"/>
                    </a:cubicBezTo>
                    <a:cubicBezTo>
                      <a:pt x="483918" y="1635999"/>
                      <a:pt x="591326" y="1022800"/>
                      <a:pt x="249462" y="1045298"/>
                    </a:cubicBezTo>
                    <a:cubicBezTo>
                      <a:pt x="168753" y="1050498"/>
                      <a:pt x="31973" y="1183628"/>
                      <a:pt x="8800" y="1018431"/>
                    </a:cubicBezTo>
                    <a:cubicBezTo>
                      <a:pt x="-14373" y="907943"/>
                      <a:pt x="14056" y="478572"/>
                      <a:pt x="110423" y="382371"/>
                    </a:cubicBezTo>
                    <a:cubicBezTo>
                      <a:pt x="506629" y="514999"/>
                      <a:pt x="790102" y="488473"/>
                      <a:pt x="828213" y="389002"/>
                    </a:cubicBezTo>
                    <a:cubicBezTo>
                      <a:pt x="838534" y="365427"/>
                      <a:pt x="828962" y="333342"/>
                      <a:pt x="793309" y="283670"/>
                    </a:cubicBezTo>
                    <a:cubicBezTo>
                      <a:pt x="687343" y="96344"/>
                      <a:pt x="859983" y="698"/>
                      <a:pt x="1029052" y="3"/>
                    </a:cubicBezTo>
                    <a:close/>
                  </a:path>
                </a:pathLst>
              </a:custGeom>
              <a:gradFill flip="none" rotWithShape="1">
                <a:gsLst>
                  <a:gs pos="94000">
                    <a:schemeClr val="accent1">
                      <a:lumMod val="75000"/>
                    </a:schemeClr>
                  </a:gs>
                  <a:gs pos="0">
                    <a:schemeClr val="accent1"/>
                  </a:gs>
                </a:gsLst>
                <a:lin ang="5400000" scaled="1"/>
                <a:tileRect/>
              </a:gradFill>
              <a:ln>
                <a:noFill/>
              </a:ln>
              <a:effectLst/>
              <a:sp3d prstMaterial="dkEdge">
                <a:bevelT w="508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2" name="Rectangle 5"/>
              <p:cNvSpPr/>
              <p:nvPr/>
            </p:nvSpPr>
            <p:spPr>
              <a:xfrm rot="5400000">
                <a:off x="6216710" y="1947991"/>
                <a:ext cx="1427811" cy="1792219"/>
              </a:xfrm>
              <a:custGeom>
                <a:avLst/>
                <a:gdLst>
                  <a:gd name="connsiteX0" fmla="*/ 872209 w 1795780"/>
                  <a:gd name="connsiteY0" fmla="*/ 3 h 2561350"/>
                  <a:gd name="connsiteX1" fmla="*/ 1086522 w 1795780"/>
                  <a:gd name="connsiteY1" fmla="*/ 286050 h 2561350"/>
                  <a:gd name="connsiteX2" fmla="*/ 1064386 w 1795780"/>
                  <a:gd name="connsiteY2" fmla="*/ 389002 h 2561350"/>
                  <a:gd name="connsiteX3" fmla="*/ 1795780 w 1795780"/>
                  <a:gd name="connsiteY3" fmla="*/ 389002 h 2561350"/>
                  <a:gd name="connsiteX4" fmla="*/ 1795780 w 1795780"/>
                  <a:gd name="connsiteY4" fmla="*/ 1063389 h 2561350"/>
                  <a:gd name="connsiteX5" fmla="*/ 1706462 w 1795780"/>
                  <a:gd name="connsiteY5" fmla="*/ 1037347 h 2561350"/>
                  <a:gd name="connsiteX6" fmla="*/ 1704082 w 1795780"/>
                  <a:gd name="connsiteY6" fmla="*/ 1487403 h 2561350"/>
                  <a:gd name="connsiteX7" fmla="*/ 1795780 w 1795780"/>
                  <a:gd name="connsiteY7" fmla="*/ 1449629 h 2561350"/>
                  <a:gd name="connsiteX8" fmla="*/ 1795780 w 1795780"/>
                  <a:gd name="connsiteY8" fmla="*/ 2167002 h 2561350"/>
                  <a:gd name="connsiteX9" fmla="*/ 1066649 w 1795780"/>
                  <a:gd name="connsiteY9" fmla="*/ 2167002 h 2561350"/>
                  <a:gd name="connsiteX10" fmla="*/ 1086522 w 1795780"/>
                  <a:gd name="connsiteY10" fmla="*/ 2275300 h 2561350"/>
                  <a:gd name="connsiteX11" fmla="*/ 636466 w 1795780"/>
                  <a:gd name="connsiteY11" fmla="*/ 2277680 h 2561350"/>
                  <a:gd name="connsiteX12" fmla="*/ 666399 w 1795780"/>
                  <a:gd name="connsiteY12" fmla="*/ 2167002 h 2561350"/>
                  <a:gd name="connsiteX13" fmla="*/ 0 w 1795780"/>
                  <a:gd name="connsiteY13" fmla="*/ 2167002 h 2561350"/>
                  <a:gd name="connsiteX14" fmla="*/ 0 w 1795780"/>
                  <a:gd name="connsiteY14" fmla="*/ 1458174 h 2561350"/>
                  <a:gd name="connsiteX15" fmla="*/ 94999 w 1795780"/>
                  <a:gd name="connsiteY15" fmla="*/ 1495354 h 2561350"/>
                  <a:gd name="connsiteX16" fmla="*/ 92619 w 1795780"/>
                  <a:gd name="connsiteY16" fmla="*/ 1045298 h 2561350"/>
                  <a:gd name="connsiteX17" fmla="*/ 0 w 1795780"/>
                  <a:gd name="connsiteY17" fmla="*/ 1071146 h 2561350"/>
                  <a:gd name="connsiteX18" fmla="*/ 0 w 1795780"/>
                  <a:gd name="connsiteY18" fmla="*/ 389002 h 2561350"/>
                  <a:gd name="connsiteX19" fmla="*/ 671370 w 1795780"/>
                  <a:gd name="connsiteY19" fmla="*/ 389002 h 2561350"/>
                  <a:gd name="connsiteX20" fmla="*/ 636466 w 1795780"/>
                  <a:gd name="connsiteY20" fmla="*/ 283670 h 2561350"/>
                  <a:gd name="connsiteX21" fmla="*/ 872209 w 1795780"/>
                  <a:gd name="connsiteY21" fmla="*/ 3 h 2561350"/>
                  <a:gd name="connsiteX0" fmla="*/ 872209 w 1795780"/>
                  <a:gd name="connsiteY0" fmla="*/ 3 h 2561350"/>
                  <a:gd name="connsiteX1" fmla="*/ 1086522 w 1795780"/>
                  <a:gd name="connsiteY1" fmla="*/ 286050 h 2561350"/>
                  <a:gd name="connsiteX2" fmla="*/ 1064386 w 1795780"/>
                  <a:gd name="connsiteY2" fmla="*/ 389002 h 2561350"/>
                  <a:gd name="connsiteX3" fmla="*/ 1795780 w 1795780"/>
                  <a:gd name="connsiteY3" fmla="*/ 389002 h 2561350"/>
                  <a:gd name="connsiteX4" fmla="*/ 1795780 w 1795780"/>
                  <a:gd name="connsiteY4" fmla="*/ 1063389 h 2561350"/>
                  <a:gd name="connsiteX5" fmla="*/ 1706462 w 1795780"/>
                  <a:gd name="connsiteY5" fmla="*/ 1037347 h 2561350"/>
                  <a:gd name="connsiteX6" fmla="*/ 1704082 w 1795780"/>
                  <a:gd name="connsiteY6" fmla="*/ 1487403 h 2561350"/>
                  <a:gd name="connsiteX7" fmla="*/ 1795780 w 1795780"/>
                  <a:gd name="connsiteY7" fmla="*/ 1449629 h 2561350"/>
                  <a:gd name="connsiteX8" fmla="*/ 1795780 w 1795780"/>
                  <a:gd name="connsiteY8" fmla="*/ 2167002 h 2561350"/>
                  <a:gd name="connsiteX9" fmla="*/ 1066649 w 1795780"/>
                  <a:gd name="connsiteY9" fmla="*/ 2167002 h 2561350"/>
                  <a:gd name="connsiteX10" fmla="*/ 1086522 w 1795780"/>
                  <a:gd name="connsiteY10" fmla="*/ 2275300 h 2561350"/>
                  <a:gd name="connsiteX11" fmla="*/ 636466 w 1795780"/>
                  <a:gd name="connsiteY11" fmla="*/ 2277680 h 2561350"/>
                  <a:gd name="connsiteX12" fmla="*/ 666399 w 1795780"/>
                  <a:gd name="connsiteY12" fmla="*/ 2167002 h 2561350"/>
                  <a:gd name="connsiteX13" fmla="*/ 0 w 1795780"/>
                  <a:gd name="connsiteY13" fmla="*/ 2167002 h 2561350"/>
                  <a:gd name="connsiteX14" fmla="*/ 0 w 1795780"/>
                  <a:gd name="connsiteY14" fmla="*/ 1458174 h 2561350"/>
                  <a:gd name="connsiteX15" fmla="*/ 94999 w 1795780"/>
                  <a:gd name="connsiteY15" fmla="*/ 1495354 h 2561350"/>
                  <a:gd name="connsiteX16" fmla="*/ 92619 w 1795780"/>
                  <a:gd name="connsiteY16" fmla="*/ 1045298 h 2561350"/>
                  <a:gd name="connsiteX17" fmla="*/ 0 w 1795780"/>
                  <a:gd name="connsiteY17" fmla="*/ 1071146 h 2561350"/>
                  <a:gd name="connsiteX18" fmla="*/ 0 w 1795780"/>
                  <a:gd name="connsiteY18" fmla="*/ 389002 h 2561350"/>
                  <a:gd name="connsiteX19" fmla="*/ 671370 w 1795780"/>
                  <a:gd name="connsiteY19" fmla="*/ 389002 h 2561350"/>
                  <a:gd name="connsiteX20" fmla="*/ 636466 w 1795780"/>
                  <a:gd name="connsiteY20" fmla="*/ 283670 h 2561350"/>
                  <a:gd name="connsiteX21" fmla="*/ 872209 w 179578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949187"/>
                  <a:gd name="connsiteY0" fmla="*/ 3 h 2561350"/>
                  <a:gd name="connsiteX1" fmla="*/ 1132942 w 1949187"/>
                  <a:gd name="connsiteY1" fmla="*/ 286050 h 2561350"/>
                  <a:gd name="connsiteX2" fmla="*/ 1110806 w 1949187"/>
                  <a:gd name="connsiteY2" fmla="*/ 389002 h 2561350"/>
                  <a:gd name="connsiteX3" fmla="*/ 1862094 w 1949187"/>
                  <a:gd name="connsiteY3" fmla="*/ 369108 h 2561350"/>
                  <a:gd name="connsiteX4" fmla="*/ 1842200 w 1949187"/>
                  <a:gd name="connsiteY4" fmla="*/ 1063389 h 2561350"/>
                  <a:gd name="connsiteX5" fmla="*/ 1752882 w 1949187"/>
                  <a:gd name="connsiteY5" fmla="*/ 1037347 h 2561350"/>
                  <a:gd name="connsiteX6" fmla="*/ 1750502 w 1949187"/>
                  <a:gd name="connsiteY6" fmla="*/ 1487403 h 2561350"/>
                  <a:gd name="connsiteX7" fmla="*/ 1842200 w 1949187"/>
                  <a:gd name="connsiteY7" fmla="*/ 1449629 h 2561350"/>
                  <a:gd name="connsiteX8" fmla="*/ 1842200 w 1949187"/>
                  <a:gd name="connsiteY8" fmla="*/ 2167002 h 2561350"/>
                  <a:gd name="connsiteX9" fmla="*/ 1113069 w 1949187"/>
                  <a:gd name="connsiteY9" fmla="*/ 2167002 h 2561350"/>
                  <a:gd name="connsiteX10" fmla="*/ 1132942 w 1949187"/>
                  <a:gd name="connsiteY10" fmla="*/ 2275300 h 2561350"/>
                  <a:gd name="connsiteX11" fmla="*/ 682886 w 1949187"/>
                  <a:gd name="connsiteY11" fmla="*/ 2277680 h 2561350"/>
                  <a:gd name="connsiteX12" fmla="*/ 712819 w 1949187"/>
                  <a:gd name="connsiteY12" fmla="*/ 2167002 h 2561350"/>
                  <a:gd name="connsiteX13" fmla="*/ 46420 w 1949187"/>
                  <a:gd name="connsiteY13" fmla="*/ 2167002 h 2561350"/>
                  <a:gd name="connsiteX14" fmla="*/ 46420 w 1949187"/>
                  <a:gd name="connsiteY14" fmla="*/ 1458174 h 2561350"/>
                  <a:gd name="connsiteX15" fmla="*/ 141419 w 1949187"/>
                  <a:gd name="connsiteY15" fmla="*/ 1495354 h 2561350"/>
                  <a:gd name="connsiteX16" fmla="*/ 139039 w 1949187"/>
                  <a:gd name="connsiteY16" fmla="*/ 1045298 h 2561350"/>
                  <a:gd name="connsiteX17" fmla="*/ 46420 w 1949187"/>
                  <a:gd name="connsiteY17" fmla="*/ 1071146 h 2561350"/>
                  <a:gd name="connsiteX18" fmla="*/ 0 w 1949187"/>
                  <a:gd name="connsiteY18" fmla="*/ 382371 h 2561350"/>
                  <a:gd name="connsiteX19" fmla="*/ 717790 w 1949187"/>
                  <a:gd name="connsiteY19" fmla="*/ 389002 h 2561350"/>
                  <a:gd name="connsiteX20" fmla="*/ 682886 w 1949187"/>
                  <a:gd name="connsiteY20" fmla="*/ 283670 h 2561350"/>
                  <a:gd name="connsiteX21" fmla="*/ 918629 w 1949187"/>
                  <a:gd name="connsiteY21" fmla="*/ 3 h 2561350"/>
                  <a:gd name="connsiteX0" fmla="*/ 918629 w 1966660"/>
                  <a:gd name="connsiteY0" fmla="*/ 3 h 2561350"/>
                  <a:gd name="connsiteX1" fmla="*/ 1132942 w 1966660"/>
                  <a:gd name="connsiteY1" fmla="*/ 286050 h 2561350"/>
                  <a:gd name="connsiteX2" fmla="*/ 1110806 w 1966660"/>
                  <a:gd name="connsiteY2" fmla="*/ 389002 h 2561350"/>
                  <a:gd name="connsiteX3" fmla="*/ 1862094 w 1966660"/>
                  <a:gd name="connsiteY3" fmla="*/ 369108 h 2561350"/>
                  <a:gd name="connsiteX4" fmla="*/ 1842200 w 1966660"/>
                  <a:gd name="connsiteY4" fmla="*/ 1063389 h 2561350"/>
                  <a:gd name="connsiteX5" fmla="*/ 1752882 w 1966660"/>
                  <a:gd name="connsiteY5" fmla="*/ 1037347 h 2561350"/>
                  <a:gd name="connsiteX6" fmla="*/ 1750502 w 1966660"/>
                  <a:gd name="connsiteY6" fmla="*/ 1487403 h 2561350"/>
                  <a:gd name="connsiteX7" fmla="*/ 1842200 w 1966660"/>
                  <a:gd name="connsiteY7" fmla="*/ 1449629 h 2561350"/>
                  <a:gd name="connsiteX8" fmla="*/ 1842200 w 1966660"/>
                  <a:gd name="connsiteY8" fmla="*/ 2167002 h 2561350"/>
                  <a:gd name="connsiteX9" fmla="*/ 1113069 w 1966660"/>
                  <a:gd name="connsiteY9" fmla="*/ 2167002 h 2561350"/>
                  <a:gd name="connsiteX10" fmla="*/ 1132942 w 1966660"/>
                  <a:gd name="connsiteY10" fmla="*/ 2275300 h 2561350"/>
                  <a:gd name="connsiteX11" fmla="*/ 682886 w 1966660"/>
                  <a:gd name="connsiteY11" fmla="*/ 2277680 h 2561350"/>
                  <a:gd name="connsiteX12" fmla="*/ 712819 w 1966660"/>
                  <a:gd name="connsiteY12" fmla="*/ 2167002 h 2561350"/>
                  <a:gd name="connsiteX13" fmla="*/ 46420 w 1966660"/>
                  <a:gd name="connsiteY13" fmla="*/ 2167002 h 2561350"/>
                  <a:gd name="connsiteX14" fmla="*/ 46420 w 1966660"/>
                  <a:gd name="connsiteY14" fmla="*/ 1458174 h 2561350"/>
                  <a:gd name="connsiteX15" fmla="*/ 141419 w 1966660"/>
                  <a:gd name="connsiteY15" fmla="*/ 1495354 h 2561350"/>
                  <a:gd name="connsiteX16" fmla="*/ 139039 w 1966660"/>
                  <a:gd name="connsiteY16" fmla="*/ 1045298 h 2561350"/>
                  <a:gd name="connsiteX17" fmla="*/ 46420 w 1966660"/>
                  <a:gd name="connsiteY17" fmla="*/ 1071146 h 2561350"/>
                  <a:gd name="connsiteX18" fmla="*/ 0 w 1966660"/>
                  <a:gd name="connsiteY18" fmla="*/ 382371 h 2561350"/>
                  <a:gd name="connsiteX19" fmla="*/ 717790 w 1966660"/>
                  <a:gd name="connsiteY19" fmla="*/ 389002 h 2561350"/>
                  <a:gd name="connsiteX20" fmla="*/ 682886 w 1966660"/>
                  <a:gd name="connsiteY20" fmla="*/ 283670 h 2561350"/>
                  <a:gd name="connsiteX21" fmla="*/ 918629 w 1966660"/>
                  <a:gd name="connsiteY21" fmla="*/ 3 h 2561350"/>
                  <a:gd name="connsiteX0" fmla="*/ 1023861 w 2071892"/>
                  <a:gd name="connsiteY0" fmla="*/ 3 h 2561350"/>
                  <a:gd name="connsiteX1" fmla="*/ 1238174 w 2071892"/>
                  <a:gd name="connsiteY1" fmla="*/ 286050 h 2561350"/>
                  <a:gd name="connsiteX2" fmla="*/ 1216038 w 2071892"/>
                  <a:gd name="connsiteY2" fmla="*/ 389002 h 2561350"/>
                  <a:gd name="connsiteX3" fmla="*/ 1967326 w 2071892"/>
                  <a:gd name="connsiteY3" fmla="*/ 369108 h 2561350"/>
                  <a:gd name="connsiteX4" fmla="*/ 1947432 w 2071892"/>
                  <a:gd name="connsiteY4" fmla="*/ 1063389 h 2561350"/>
                  <a:gd name="connsiteX5" fmla="*/ 1858114 w 2071892"/>
                  <a:gd name="connsiteY5" fmla="*/ 1037347 h 2561350"/>
                  <a:gd name="connsiteX6" fmla="*/ 1855734 w 2071892"/>
                  <a:gd name="connsiteY6" fmla="*/ 1487403 h 2561350"/>
                  <a:gd name="connsiteX7" fmla="*/ 1947432 w 2071892"/>
                  <a:gd name="connsiteY7" fmla="*/ 1449629 h 2561350"/>
                  <a:gd name="connsiteX8" fmla="*/ 1947432 w 2071892"/>
                  <a:gd name="connsiteY8" fmla="*/ 2167002 h 2561350"/>
                  <a:gd name="connsiteX9" fmla="*/ 1218301 w 2071892"/>
                  <a:gd name="connsiteY9" fmla="*/ 2167002 h 2561350"/>
                  <a:gd name="connsiteX10" fmla="*/ 1238174 w 2071892"/>
                  <a:gd name="connsiteY10" fmla="*/ 2275300 h 2561350"/>
                  <a:gd name="connsiteX11" fmla="*/ 788118 w 2071892"/>
                  <a:gd name="connsiteY11" fmla="*/ 2277680 h 2561350"/>
                  <a:gd name="connsiteX12" fmla="*/ 818051 w 2071892"/>
                  <a:gd name="connsiteY12" fmla="*/ 2167002 h 2561350"/>
                  <a:gd name="connsiteX13" fmla="*/ 151652 w 2071892"/>
                  <a:gd name="connsiteY13" fmla="*/ 2167002 h 2561350"/>
                  <a:gd name="connsiteX14" fmla="*/ 151652 w 2071892"/>
                  <a:gd name="connsiteY14" fmla="*/ 1458174 h 2561350"/>
                  <a:gd name="connsiteX15" fmla="*/ 246651 w 2071892"/>
                  <a:gd name="connsiteY15" fmla="*/ 1495354 h 2561350"/>
                  <a:gd name="connsiteX16" fmla="*/ 244271 w 2071892"/>
                  <a:gd name="connsiteY16" fmla="*/ 1045298 h 2561350"/>
                  <a:gd name="connsiteX17" fmla="*/ 151652 w 2071892"/>
                  <a:gd name="connsiteY17" fmla="*/ 1071146 h 2561350"/>
                  <a:gd name="connsiteX18" fmla="*/ 105232 w 2071892"/>
                  <a:gd name="connsiteY18" fmla="*/ 382371 h 2561350"/>
                  <a:gd name="connsiteX19" fmla="*/ 823022 w 2071892"/>
                  <a:gd name="connsiteY19" fmla="*/ 389002 h 2561350"/>
                  <a:gd name="connsiteX20" fmla="*/ 788118 w 2071892"/>
                  <a:gd name="connsiteY20" fmla="*/ 283670 h 2561350"/>
                  <a:gd name="connsiteX21" fmla="*/ 1023861 w 2071892"/>
                  <a:gd name="connsiteY21" fmla="*/ 3 h 2561350"/>
                  <a:gd name="connsiteX0" fmla="*/ 1039756 w 2087787"/>
                  <a:gd name="connsiteY0" fmla="*/ 3 h 2561350"/>
                  <a:gd name="connsiteX1" fmla="*/ 1254069 w 2087787"/>
                  <a:gd name="connsiteY1" fmla="*/ 286050 h 2561350"/>
                  <a:gd name="connsiteX2" fmla="*/ 1231933 w 2087787"/>
                  <a:gd name="connsiteY2" fmla="*/ 389002 h 2561350"/>
                  <a:gd name="connsiteX3" fmla="*/ 1983221 w 2087787"/>
                  <a:gd name="connsiteY3" fmla="*/ 369108 h 2561350"/>
                  <a:gd name="connsiteX4" fmla="*/ 1963327 w 2087787"/>
                  <a:gd name="connsiteY4" fmla="*/ 1063389 h 2561350"/>
                  <a:gd name="connsiteX5" fmla="*/ 1874009 w 2087787"/>
                  <a:gd name="connsiteY5" fmla="*/ 1037347 h 2561350"/>
                  <a:gd name="connsiteX6" fmla="*/ 1871629 w 2087787"/>
                  <a:gd name="connsiteY6" fmla="*/ 1487403 h 2561350"/>
                  <a:gd name="connsiteX7" fmla="*/ 1963327 w 2087787"/>
                  <a:gd name="connsiteY7" fmla="*/ 1449629 h 2561350"/>
                  <a:gd name="connsiteX8" fmla="*/ 1963327 w 2087787"/>
                  <a:gd name="connsiteY8" fmla="*/ 2167002 h 2561350"/>
                  <a:gd name="connsiteX9" fmla="*/ 1234196 w 2087787"/>
                  <a:gd name="connsiteY9" fmla="*/ 2167002 h 2561350"/>
                  <a:gd name="connsiteX10" fmla="*/ 1254069 w 2087787"/>
                  <a:gd name="connsiteY10" fmla="*/ 2275300 h 2561350"/>
                  <a:gd name="connsiteX11" fmla="*/ 804013 w 2087787"/>
                  <a:gd name="connsiteY11" fmla="*/ 2277680 h 2561350"/>
                  <a:gd name="connsiteX12" fmla="*/ 833946 w 2087787"/>
                  <a:gd name="connsiteY12" fmla="*/ 2167002 h 2561350"/>
                  <a:gd name="connsiteX13" fmla="*/ 167547 w 2087787"/>
                  <a:gd name="connsiteY13" fmla="*/ 2167002 h 2561350"/>
                  <a:gd name="connsiteX14" fmla="*/ 167547 w 2087787"/>
                  <a:gd name="connsiteY14" fmla="*/ 1458174 h 2561350"/>
                  <a:gd name="connsiteX15" fmla="*/ 262546 w 2087787"/>
                  <a:gd name="connsiteY15" fmla="*/ 1495354 h 2561350"/>
                  <a:gd name="connsiteX16" fmla="*/ 260166 w 2087787"/>
                  <a:gd name="connsiteY16" fmla="*/ 1045298 h 2561350"/>
                  <a:gd name="connsiteX17" fmla="*/ 167547 w 2087787"/>
                  <a:gd name="connsiteY17" fmla="*/ 1071146 h 2561350"/>
                  <a:gd name="connsiteX18" fmla="*/ 121127 w 2087787"/>
                  <a:gd name="connsiteY18" fmla="*/ 382371 h 2561350"/>
                  <a:gd name="connsiteX19" fmla="*/ 838917 w 2087787"/>
                  <a:gd name="connsiteY19" fmla="*/ 389002 h 2561350"/>
                  <a:gd name="connsiteX20" fmla="*/ 804013 w 2087787"/>
                  <a:gd name="connsiteY20" fmla="*/ 283670 h 2561350"/>
                  <a:gd name="connsiteX21" fmla="*/ 1039756 w 2087787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88885"/>
                  <a:gd name="connsiteY0" fmla="*/ 3 h 2561350"/>
                  <a:gd name="connsiteX1" fmla="*/ 1239747 w 2088885"/>
                  <a:gd name="connsiteY1" fmla="*/ 286050 h 2561350"/>
                  <a:gd name="connsiteX2" fmla="*/ 1217611 w 2088885"/>
                  <a:gd name="connsiteY2" fmla="*/ 389002 h 2561350"/>
                  <a:gd name="connsiteX3" fmla="*/ 1968899 w 2088885"/>
                  <a:gd name="connsiteY3" fmla="*/ 369108 h 2561350"/>
                  <a:gd name="connsiteX4" fmla="*/ 1949005 w 2088885"/>
                  <a:gd name="connsiteY4" fmla="*/ 1063389 h 2561350"/>
                  <a:gd name="connsiteX5" fmla="*/ 1859687 w 2088885"/>
                  <a:gd name="connsiteY5" fmla="*/ 1037347 h 2561350"/>
                  <a:gd name="connsiteX6" fmla="*/ 1857307 w 2088885"/>
                  <a:gd name="connsiteY6" fmla="*/ 1487403 h 2561350"/>
                  <a:gd name="connsiteX7" fmla="*/ 1949005 w 2088885"/>
                  <a:gd name="connsiteY7" fmla="*/ 1449629 h 2561350"/>
                  <a:gd name="connsiteX8" fmla="*/ 1949005 w 2088885"/>
                  <a:gd name="connsiteY8" fmla="*/ 2167002 h 2561350"/>
                  <a:gd name="connsiteX9" fmla="*/ 1219874 w 2088885"/>
                  <a:gd name="connsiteY9" fmla="*/ 2167002 h 2561350"/>
                  <a:gd name="connsiteX10" fmla="*/ 1239747 w 2088885"/>
                  <a:gd name="connsiteY10" fmla="*/ 2275300 h 2561350"/>
                  <a:gd name="connsiteX11" fmla="*/ 789691 w 2088885"/>
                  <a:gd name="connsiteY11" fmla="*/ 2277680 h 2561350"/>
                  <a:gd name="connsiteX12" fmla="*/ 819624 w 2088885"/>
                  <a:gd name="connsiteY12" fmla="*/ 2167002 h 2561350"/>
                  <a:gd name="connsiteX13" fmla="*/ 153225 w 2088885"/>
                  <a:gd name="connsiteY13" fmla="*/ 2167002 h 2561350"/>
                  <a:gd name="connsiteX14" fmla="*/ 153225 w 2088885"/>
                  <a:gd name="connsiteY14" fmla="*/ 1458174 h 2561350"/>
                  <a:gd name="connsiteX15" fmla="*/ 248224 w 2088885"/>
                  <a:gd name="connsiteY15" fmla="*/ 1495354 h 2561350"/>
                  <a:gd name="connsiteX16" fmla="*/ 245844 w 2088885"/>
                  <a:gd name="connsiteY16" fmla="*/ 1045298 h 2561350"/>
                  <a:gd name="connsiteX17" fmla="*/ 153225 w 2088885"/>
                  <a:gd name="connsiteY17" fmla="*/ 1071146 h 2561350"/>
                  <a:gd name="connsiteX18" fmla="*/ 106805 w 2088885"/>
                  <a:gd name="connsiteY18" fmla="*/ 382371 h 2561350"/>
                  <a:gd name="connsiteX19" fmla="*/ 824595 w 2088885"/>
                  <a:gd name="connsiteY19" fmla="*/ 389002 h 2561350"/>
                  <a:gd name="connsiteX20" fmla="*/ 789691 w 2088885"/>
                  <a:gd name="connsiteY20" fmla="*/ 283670 h 2561350"/>
                  <a:gd name="connsiteX21" fmla="*/ 1025434 w 208888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102756"/>
                  <a:gd name="connsiteY0" fmla="*/ 3 h 2561350"/>
                  <a:gd name="connsiteX1" fmla="*/ 1239747 w 2102756"/>
                  <a:gd name="connsiteY1" fmla="*/ 286050 h 2561350"/>
                  <a:gd name="connsiteX2" fmla="*/ 1217611 w 2102756"/>
                  <a:gd name="connsiteY2" fmla="*/ 389002 h 2561350"/>
                  <a:gd name="connsiteX3" fmla="*/ 1968899 w 2102756"/>
                  <a:gd name="connsiteY3" fmla="*/ 369108 h 2561350"/>
                  <a:gd name="connsiteX4" fmla="*/ 1949005 w 2102756"/>
                  <a:gd name="connsiteY4" fmla="*/ 1063389 h 2561350"/>
                  <a:gd name="connsiteX5" fmla="*/ 1859687 w 2102756"/>
                  <a:gd name="connsiteY5" fmla="*/ 1037347 h 2561350"/>
                  <a:gd name="connsiteX6" fmla="*/ 1857307 w 2102756"/>
                  <a:gd name="connsiteY6" fmla="*/ 1487403 h 2561350"/>
                  <a:gd name="connsiteX7" fmla="*/ 1995425 w 2102756"/>
                  <a:gd name="connsiteY7" fmla="*/ 1456260 h 2561350"/>
                  <a:gd name="connsiteX8" fmla="*/ 1949005 w 2102756"/>
                  <a:gd name="connsiteY8" fmla="*/ 2167002 h 2561350"/>
                  <a:gd name="connsiteX9" fmla="*/ 1219874 w 2102756"/>
                  <a:gd name="connsiteY9" fmla="*/ 2167002 h 2561350"/>
                  <a:gd name="connsiteX10" fmla="*/ 1239747 w 2102756"/>
                  <a:gd name="connsiteY10" fmla="*/ 2275300 h 2561350"/>
                  <a:gd name="connsiteX11" fmla="*/ 789691 w 2102756"/>
                  <a:gd name="connsiteY11" fmla="*/ 2277680 h 2561350"/>
                  <a:gd name="connsiteX12" fmla="*/ 819624 w 2102756"/>
                  <a:gd name="connsiteY12" fmla="*/ 2167002 h 2561350"/>
                  <a:gd name="connsiteX13" fmla="*/ 153225 w 2102756"/>
                  <a:gd name="connsiteY13" fmla="*/ 2167002 h 2561350"/>
                  <a:gd name="connsiteX14" fmla="*/ 153225 w 2102756"/>
                  <a:gd name="connsiteY14" fmla="*/ 1458174 h 2561350"/>
                  <a:gd name="connsiteX15" fmla="*/ 248224 w 2102756"/>
                  <a:gd name="connsiteY15" fmla="*/ 1495354 h 2561350"/>
                  <a:gd name="connsiteX16" fmla="*/ 245844 w 2102756"/>
                  <a:gd name="connsiteY16" fmla="*/ 1045298 h 2561350"/>
                  <a:gd name="connsiteX17" fmla="*/ 153225 w 2102756"/>
                  <a:gd name="connsiteY17" fmla="*/ 1071146 h 2561350"/>
                  <a:gd name="connsiteX18" fmla="*/ 106805 w 2102756"/>
                  <a:gd name="connsiteY18" fmla="*/ 382371 h 2561350"/>
                  <a:gd name="connsiteX19" fmla="*/ 824595 w 2102756"/>
                  <a:gd name="connsiteY19" fmla="*/ 389002 h 2561350"/>
                  <a:gd name="connsiteX20" fmla="*/ 789691 w 2102756"/>
                  <a:gd name="connsiteY20" fmla="*/ 283670 h 2561350"/>
                  <a:gd name="connsiteX21" fmla="*/ 1025434 w 2102756"/>
                  <a:gd name="connsiteY21" fmla="*/ 3 h 2561350"/>
                  <a:gd name="connsiteX0" fmla="*/ 1025434 w 2076232"/>
                  <a:gd name="connsiteY0" fmla="*/ 3 h 2561350"/>
                  <a:gd name="connsiteX1" fmla="*/ 1239747 w 2076232"/>
                  <a:gd name="connsiteY1" fmla="*/ 286050 h 2561350"/>
                  <a:gd name="connsiteX2" fmla="*/ 1217611 w 2076232"/>
                  <a:gd name="connsiteY2" fmla="*/ 389002 h 2561350"/>
                  <a:gd name="connsiteX3" fmla="*/ 1968899 w 2076232"/>
                  <a:gd name="connsiteY3" fmla="*/ 369108 h 2561350"/>
                  <a:gd name="connsiteX4" fmla="*/ 1949005 w 2076232"/>
                  <a:gd name="connsiteY4" fmla="*/ 1063389 h 2561350"/>
                  <a:gd name="connsiteX5" fmla="*/ 1859687 w 2076232"/>
                  <a:gd name="connsiteY5" fmla="*/ 1037347 h 2561350"/>
                  <a:gd name="connsiteX6" fmla="*/ 1857307 w 2076232"/>
                  <a:gd name="connsiteY6" fmla="*/ 1487403 h 2561350"/>
                  <a:gd name="connsiteX7" fmla="*/ 1995425 w 2076232"/>
                  <a:gd name="connsiteY7" fmla="*/ 1456260 h 2561350"/>
                  <a:gd name="connsiteX8" fmla="*/ 1949005 w 2076232"/>
                  <a:gd name="connsiteY8" fmla="*/ 2167002 h 2561350"/>
                  <a:gd name="connsiteX9" fmla="*/ 1219874 w 2076232"/>
                  <a:gd name="connsiteY9" fmla="*/ 2167002 h 2561350"/>
                  <a:gd name="connsiteX10" fmla="*/ 1239747 w 2076232"/>
                  <a:gd name="connsiteY10" fmla="*/ 2275300 h 2561350"/>
                  <a:gd name="connsiteX11" fmla="*/ 789691 w 2076232"/>
                  <a:gd name="connsiteY11" fmla="*/ 2277680 h 2561350"/>
                  <a:gd name="connsiteX12" fmla="*/ 819624 w 2076232"/>
                  <a:gd name="connsiteY12" fmla="*/ 2167002 h 2561350"/>
                  <a:gd name="connsiteX13" fmla="*/ 153225 w 2076232"/>
                  <a:gd name="connsiteY13" fmla="*/ 2167002 h 2561350"/>
                  <a:gd name="connsiteX14" fmla="*/ 153225 w 2076232"/>
                  <a:gd name="connsiteY14" fmla="*/ 1458174 h 2561350"/>
                  <a:gd name="connsiteX15" fmla="*/ 248224 w 2076232"/>
                  <a:gd name="connsiteY15" fmla="*/ 1495354 h 2561350"/>
                  <a:gd name="connsiteX16" fmla="*/ 245844 w 2076232"/>
                  <a:gd name="connsiteY16" fmla="*/ 1045298 h 2561350"/>
                  <a:gd name="connsiteX17" fmla="*/ 153225 w 2076232"/>
                  <a:gd name="connsiteY17" fmla="*/ 1071146 h 2561350"/>
                  <a:gd name="connsiteX18" fmla="*/ 106805 w 2076232"/>
                  <a:gd name="connsiteY18" fmla="*/ 382371 h 2561350"/>
                  <a:gd name="connsiteX19" fmla="*/ 824595 w 2076232"/>
                  <a:gd name="connsiteY19" fmla="*/ 389002 h 2561350"/>
                  <a:gd name="connsiteX20" fmla="*/ 789691 w 2076232"/>
                  <a:gd name="connsiteY20" fmla="*/ 283670 h 2561350"/>
                  <a:gd name="connsiteX21" fmla="*/ 1025434 w 2076232"/>
                  <a:gd name="connsiteY21" fmla="*/ 3 h 2561350"/>
                  <a:gd name="connsiteX0" fmla="*/ 1025434 w 2077711"/>
                  <a:gd name="connsiteY0" fmla="*/ 3 h 2561350"/>
                  <a:gd name="connsiteX1" fmla="*/ 1239747 w 2077711"/>
                  <a:gd name="connsiteY1" fmla="*/ 286050 h 2561350"/>
                  <a:gd name="connsiteX2" fmla="*/ 1217611 w 2077711"/>
                  <a:gd name="connsiteY2" fmla="*/ 389002 h 2561350"/>
                  <a:gd name="connsiteX3" fmla="*/ 1968899 w 2077711"/>
                  <a:gd name="connsiteY3" fmla="*/ 369108 h 2561350"/>
                  <a:gd name="connsiteX4" fmla="*/ 1949005 w 2077711"/>
                  <a:gd name="connsiteY4" fmla="*/ 1063389 h 2561350"/>
                  <a:gd name="connsiteX5" fmla="*/ 1859687 w 2077711"/>
                  <a:gd name="connsiteY5" fmla="*/ 1037347 h 2561350"/>
                  <a:gd name="connsiteX6" fmla="*/ 1857307 w 2077711"/>
                  <a:gd name="connsiteY6" fmla="*/ 1487403 h 2561350"/>
                  <a:gd name="connsiteX7" fmla="*/ 1995425 w 2077711"/>
                  <a:gd name="connsiteY7" fmla="*/ 1456260 h 2561350"/>
                  <a:gd name="connsiteX8" fmla="*/ 1949005 w 2077711"/>
                  <a:gd name="connsiteY8" fmla="*/ 2167002 h 2561350"/>
                  <a:gd name="connsiteX9" fmla="*/ 1219874 w 2077711"/>
                  <a:gd name="connsiteY9" fmla="*/ 2167002 h 2561350"/>
                  <a:gd name="connsiteX10" fmla="*/ 1239747 w 2077711"/>
                  <a:gd name="connsiteY10" fmla="*/ 2275300 h 2561350"/>
                  <a:gd name="connsiteX11" fmla="*/ 789691 w 2077711"/>
                  <a:gd name="connsiteY11" fmla="*/ 2277680 h 2561350"/>
                  <a:gd name="connsiteX12" fmla="*/ 819624 w 2077711"/>
                  <a:gd name="connsiteY12" fmla="*/ 2167002 h 2561350"/>
                  <a:gd name="connsiteX13" fmla="*/ 153225 w 2077711"/>
                  <a:gd name="connsiteY13" fmla="*/ 2167002 h 2561350"/>
                  <a:gd name="connsiteX14" fmla="*/ 153225 w 2077711"/>
                  <a:gd name="connsiteY14" fmla="*/ 1458174 h 2561350"/>
                  <a:gd name="connsiteX15" fmla="*/ 248224 w 2077711"/>
                  <a:gd name="connsiteY15" fmla="*/ 1495354 h 2561350"/>
                  <a:gd name="connsiteX16" fmla="*/ 245844 w 2077711"/>
                  <a:gd name="connsiteY16" fmla="*/ 1045298 h 2561350"/>
                  <a:gd name="connsiteX17" fmla="*/ 153225 w 2077711"/>
                  <a:gd name="connsiteY17" fmla="*/ 1071146 h 2561350"/>
                  <a:gd name="connsiteX18" fmla="*/ 106805 w 2077711"/>
                  <a:gd name="connsiteY18" fmla="*/ 382371 h 2561350"/>
                  <a:gd name="connsiteX19" fmla="*/ 824595 w 2077711"/>
                  <a:gd name="connsiteY19" fmla="*/ 389002 h 2561350"/>
                  <a:gd name="connsiteX20" fmla="*/ 789691 w 2077711"/>
                  <a:gd name="connsiteY20" fmla="*/ 283670 h 2561350"/>
                  <a:gd name="connsiteX21" fmla="*/ 1025434 w 2077711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57307 w 2082173"/>
                  <a:gd name="connsiteY6" fmla="*/ 1487403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57307 w 2082173"/>
                  <a:gd name="connsiteY6" fmla="*/ 1487403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1331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1331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13436 w 2082173"/>
                  <a:gd name="connsiteY14" fmla="*/ 1511225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38495 w 2095234"/>
                  <a:gd name="connsiteY0" fmla="*/ 3 h 2561350"/>
                  <a:gd name="connsiteX1" fmla="*/ 1252808 w 2095234"/>
                  <a:gd name="connsiteY1" fmla="*/ 286050 h 2561350"/>
                  <a:gd name="connsiteX2" fmla="*/ 1230672 w 2095234"/>
                  <a:gd name="connsiteY2" fmla="*/ 389002 h 2561350"/>
                  <a:gd name="connsiteX3" fmla="*/ 1981960 w 2095234"/>
                  <a:gd name="connsiteY3" fmla="*/ 369108 h 2561350"/>
                  <a:gd name="connsiteX4" fmla="*/ 1975328 w 2095234"/>
                  <a:gd name="connsiteY4" fmla="*/ 1096546 h 2561350"/>
                  <a:gd name="connsiteX5" fmla="*/ 1872748 w 2095234"/>
                  <a:gd name="connsiteY5" fmla="*/ 1037347 h 2561350"/>
                  <a:gd name="connsiteX6" fmla="*/ 1857106 w 2095234"/>
                  <a:gd name="connsiteY6" fmla="*/ 1520560 h 2561350"/>
                  <a:gd name="connsiteX7" fmla="*/ 2008486 w 2095234"/>
                  <a:gd name="connsiteY7" fmla="*/ 1456260 h 2561350"/>
                  <a:gd name="connsiteX8" fmla="*/ 1962066 w 2095234"/>
                  <a:gd name="connsiteY8" fmla="*/ 2180265 h 2561350"/>
                  <a:gd name="connsiteX9" fmla="*/ 1232935 w 2095234"/>
                  <a:gd name="connsiteY9" fmla="*/ 2167002 h 2561350"/>
                  <a:gd name="connsiteX10" fmla="*/ 1252808 w 2095234"/>
                  <a:gd name="connsiteY10" fmla="*/ 2275300 h 2561350"/>
                  <a:gd name="connsiteX11" fmla="*/ 802752 w 2095234"/>
                  <a:gd name="connsiteY11" fmla="*/ 2277680 h 2561350"/>
                  <a:gd name="connsiteX12" fmla="*/ 832685 w 2095234"/>
                  <a:gd name="connsiteY12" fmla="*/ 2167002 h 2561350"/>
                  <a:gd name="connsiteX13" fmla="*/ 139760 w 2095234"/>
                  <a:gd name="connsiteY13" fmla="*/ 2200159 h 2561350"/>
                  <a:gd name="connsiteX14" fmla="*/ 119866 w 2095234"/>
                  <a:gd name="connsiteY14" fmla="*/ 1497962 h 2561350"/>
                  <a:gd name="connsiteX15" fmla="*/ 281179 w 2095234"/>
                  <a:gd name="connsiteY15" fmla="*/ 1561668 h 2561350"/>
                  <a:gd name="connsiteX16" fmla="*/ 258905 w 2095234"/>
                  <a:gd name="connsiteY16" fmla="*/ 1045298 h 2561350"/>
                  <a:gd name="connsiteX17" fmla="*/ 146392 w 2095234"/>
                  <a:gd name="connsiteY17" fmla="*/ 1091040 h 2561350"/>
                  <a:gd name="connsiteX18" fmla="*/ 119866 w 2095234"/>
                  <a:gd name="connsiteY18" fmla="*/ 382371 h 2561350"/>
                  <a:gd name="connsiteX19" fmla="*/ 837656 w 2095234"/>
                  <a:gd name="connsiteY19" fmla="*/ 389002 h 2561350"/>
                  <a:gd name="connsiteX20" fmla="*/ 802752 w 2095234"/>
                  <a:gd name="connsiteY20" fmla="*/ 283670 h 2561350"/>
                  <a:gd name="connsiteX21" fmla="*/ 1038495 w 2095234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19868 w 2076607"/>
                  <a:gd name="connsiteY0" fmla="*/ 3 h 2561350"/>
                  <a:gd name="connsiteX1" fmla="*/ 1234181 w 2076607"/>
                  <a:gd name="connsiteY1" fmla="*/ 286050 h 2561350"/>
                  <a:gd name="connsiteX2" fmla="*/ 1212045 w 2076607"/>
                  <a:gd name="connsiteY2" fmla="*/ 389002 h 2561350"/>
                  <a:gd name="connsiteX3" fmla="*/ 1963333 w 2076607"/>
                  <a:gd name="connsiteY3" fmla="*/ 369108 h 2561350"/>
                  <a:gd name="connsiteX4" fmla="*/ 1956701 w 2076607"/>
                  <a:gd name="connsiteY4" fmla="*/ 1096546 h 2561350"/>
                  <a:gd name="connsiteX5" fmla="*/ 1854121 w 2076607"/>
                  <a:gd name="connsiteY5" fmla="*/ 1037347 h 2561350"/>
                  <a:gd name="connsiteX6" fmla="*/ 1838479 w 2076607"/>
                  <a:gd name="connsiteY6" fmla="*/ 1520560 h 2561350"/>
                  <a:gd name="connsiteX7" fmla="*/ 1989859 w 2076607"/>
                  <a:gd name="connsiteY7" fmla="*/ 1456260 h 2561350"/>
                  <a:gd name="connsiteX8" fmla="*/ 1943439 w 2076607"/>
                  <a:gd name="connsiteY8" fmla="*/ 2180265 h 2561350"/>
                  <a:gd name="connsiteX9" fmla="*/ 1214308 w 2076607"/>
                  <a:gd name="connsiteY9" fmla="*/ 2167002 h 2561350"/>
                  <a:gd name="connsiteX10" fmla="*/ 1234181 w 2076607"/>
                  <a:gd name="connsiteY10" fmla="*/ 2275300 h 2561350"/>
                  <a:gd name="connsiteX11" fmla="*/ 784125 w 2076607"/>
                  <a:gd name="connsiteY11" fmla="*/ 2277680 h 2561350"/>
                  <a:gd name="connsiteX12" fmla="*/ 814058 w 2076607"/>
                  <a:gd name="connsiteY12" fmla="*/ 2167002 h 2561350"/>
                  <a:gd name="connsiteX13" fmla="*/ 121133 w 2076607"/>
                  <a:gd name="connsiteY13" fmla="*/ 2200159 h 2561350"/>
                  <a:gd name="connsiteX14" fmla="*/ 101239 w 2076607"/>
                  <a:gd name="connsiteY14" fmla="*/ 1497962 h 2561350"/>
                  <a:gd name="connsiteX15" fmla="*/ 262552 w 2076607"/>
                  <a:gd name="connsiteY15" fmla="*/ 1561668 h 2561350"/>
                  <a:gd name="connsiteX16" fmla="*/ 240278 w 2076607"/>
                  <a:gd name="connsiteY16" fmla="*/ 1045298 h 2561350"/>
                  <a:gd name="connsiteX17" fmla="*/ 101239 w 2076607"/>
                  <a:gd name="connsiteY17" fmla="*/ 382371 h 2561350"/>
                  <a:gd name="connsiteX18" fmla="*/ 819029 w 2076607"/>
                  <a:gd name="connsiteY18" fmla="*/ 389002 h 2561350"/>
                  <a:gd name="connsiteX19" fmla="*/ 784125 w 2076607"/>
                  <a:gd name="connsiteY19" fmla="*/ 283670 h 2561350"/>
                  <a:gd name="connsiteX20" fmla="*/ 1019868 w 2076607"/>
                  <a:gd name="connsiteY20" fmla="*/ 3 h 2561350"/>
                  <a:gd name="connsiteX0" fmla="*/ 1019868 w 2076607"/>
                  <a:gd name="connsiteY0" fmla="*/ 3 h 2561350"/>
                  <a:gd name="connsiteX1" fmla="*/ 1234181 w 2076607"/>
                  <a:gd name="connsiteY1" fmla="*/ 286050 h 2561350"/>
                  <a:gd name="connsiteX2" fmla="*/ 1212045 w 2076607"/>
                  <a:gd name="connsiteY2" fmla="*/ 389002 h 2561350"/>
                  <a:gd name="connsiteX3" fmla="*/ 1963333 w 2076607"/>
                  <a:gd name="connsiteY3" fmla="*/ 369108 h 2561350"/>
                  <a:gd name="connsiteX4" fmla="*/ 1956701 w 2076607"/>
                  <a:gd name="connsiteY4" fmla="*/ 1096546 h 2561350"/>
                  <a:gd name="connsiteX5" fmla="*/ 1854121 w 2076607"/>
                  <a:gd name="connsiteY5" fmla="*/ 1037347 h 2561350"/>
                  <a:gd name="connsiteX6" fmla="*/ 1838479 w 2076607"/>
                  <a:gd name="connsiteY6" fmla="*/ 1520560 h 2561350"/>
                  <a:gd name="connsiteX7" fmla="*/ 1989859 w 2076607"/>
                  <a:gd name="connsiteY7" fmla="*/ 1456260 h 2561350"/>
                  <a:gd name="connsiteX8" fmla="*/ 1943439 w 2076607"/>
                  <a:gd name="connsiteY8" fmla="*/ 2180265 h 2561350"/>
                  <a:gd name="connsiteX9" fmla="*/ 1214308 w 2076607"/>
                  <a:gd name="connsiteY9" fmla="*/ 2167002 h 2561350"/>
                  <a:gd name="connsiteX10" fmla="*/ 1234181 w 2076607"/>
                  <a:gd name="connsiteY10" fmla="*/ 2275300 h 2561350"/>
                  <a:gd name="connsiteX11" fmla="*/ 784125 w 2076607"/>
                  <a:gd name="connsiteY11" fmla="*/ 2277680 h 2561350"/>
                  <a:gd name="connsiteX12" fmla="*/ 814058 w 2076607"/>
                  <a:gd name="connsiteY12" fmla="*/ 2167002 h 2561350"/>
                  <a:gd name="connsiteX13" fmla="*/ 121133 w 2076607"/>
                  <a:gd name="connsiteY13" fmla="*/ 2200159 h 2561350"/>
                  <a:gd name="connsiteX14" fmla="*/ 101239 w 2076607"/>
                  <a:gd name="connsiteY14" fmla="*/ 1497962 h 2561350"/>
                  <a:gd name="connsiteX15" fmla="*/ 262552 w 2076607"/>
                  <a:gd name="connsiteY15" fmla="*/ 1561668 h 2561350"/>
                  <a:gd name="connsiteX16" fmla="*/ 240278 w 2076607"/>
                  <a:gd name="connsiteY16" fmla="*/ 1045298 h 2561350"/>
                  <a:gd name="connsiteX17" fmla="*/ 136388 w 2076607"/>
                  <a:gd name="connsiteY17" fmla="*/ 727479 h 2561350"/>
                  <a:gd name="connsiteX18" fmla="*/ 101239 w 2076607"/>
                  <a:gd name="connsiteY18" fmla="*/ 382371 h 2561350"/>
                  <a:gd name="connsiteX19" fmla="*/ 819029 w 2076607"/>
                  <a:gd name="connsiteY19" fmla="*/ 389002 h 2561350"/>
                  <a:gd name="connsiteX20" fmla="*/ 784125 w 2076607"/>
                  <a:gd name="connsiteY20" fmla="*/ 283670 h 2561350"/>
                  <a:gd name="connsiteX21" fmla="*/ 1019868 w 2076607"/>
                  <a:gd name="connsiteY21" fmla="*/ 3 h 2561350"/>
                  <a:gd name="connsiteX0" fmla="*/ 1030195 w 2086934"/>
                  <a:gd name="connsiteY0" fmla="*/ 3 h 2561350"/>
                  <a:gd name="connsiteX1" fmla="*/ 1244508 w 2086934"/>
                  <a:gd name="connsiteY1" fmla="*/ 286050 h 2561350"/>
                  <a:gd name="connsiteX2" fmla="*/ 1222372 w 2086934"/>
                  <a:gd name="connsiteY2" fmla="*/ 389002 h 2561350"/>
                  <a:gd name="connsiteX3" fmla="*/ 1973660 w 2086934"/>
                  <a:gd name="connsiteY3" fmla="*/ 369108 h 2561350"/>
                  <a:gd name="connsiteX4" fmla="*/ 1967028 w 2086934"/>
                  <a:gd name="connsiteY4" fmla="*/ 1096546 h 2561350"/>
                  <a:gd name="connsiteX5" fmla="*/ 1864448 w 2086934"/>
                  <a:gd name="connsiteY5" fmla="*/ 1037347 h 2561350"/>
                  <a:gd name="connsiteX6" fmla="*/ 1848806 w 2086934"/>
                  <a:gd name="connsiteY6" fmla="*/ 1520560 h 2561350"/>
                  <a:gd name="connsiteX7" fmla="*/ 2000186 w 2086934"/>
                  <a:gd name="connsiteY7" fmla="*/ 1456260 h 2561350"/>
                  <a:gd name="connsiteX8" fmla="*/ 1953766 w 2086934"/>
                  <a:gd name="connsiteY8" fmla="*/ 2180265 h 2561350"/>
                  <a:gd name="connsiteX9" fmla="*/ 1224635 w 2086934"/>
                  <a:gd name="connsiteY9" fmla="*/ 2167002 h 2561350"/>
                  <a:gd name="connsiteX10" fmla="*/ 1244508 w 2086934"/>
                  <a:gd name="connsiteY10" fmla="*/ 2275300 h 2561350"/>
                  <a:gd name="connsiteX11" fmla="*/ 794452 w 2086934"/>
                  <a:gd name="connsiteY11" fmla="*/ 2277680 h 2561350"/>
                  <a:gd name="connsiteX12" fmla="*/ 824385 w 2086934"/>
                  <a:gd name="connsiteY12" fmla="*/ 2167002 h 2561350"/>
                  <a:gd name="connsiteX13" fmla="*/ 131460 w 2086934"/>
                  <a:gd name="connsiteY13" fmla="*/ 2200159 h 2561350"/>
                  <a:gd name="connsiteX14" fmla="*/ 111566 w 2086934"/>
                  <a:gd name="connsiteY14" fmla="*/ 1497962 h 2561350"/>
                  <a:gd name="connsiteX15" fmla="*/ 272879 w 2086934"/>
                  <a:gd name="connsiteY15" fmla="*/ 1561668 h 2561350"/>
                  <a:gd name="connsiteX16" fmla="*/ 250605 w 2086934"/>
                  <a:gd name="connsiteY16" fmla="*/ 1045298 h 2561350"/>
                  <a:gd name="connsiteX17" fmla="*/ 9943 w 2086934"/>
                  <a:gd name="connsiteY17" fmla="*/ 1018431 h 2561350"/>
                  <a:gd name="connsiteX18" fmla="*/ 111566 w 2086934"/>
                  <a:gd name="connsiteY18" fmla="*/ 382371 h 2561350"/>
                  <a:gd name="connsiteX19" fmla="*/ 829356 w 2086934"/>
                  <a:gd name="connsiteY19" fmla="*/ 389002 h 2561350"/>
                  <a:gd name="connsiteX20" fmla="*/ 794452 w 2086934"/>
                  <a:gd name="connsiteY20" fmla="*/ 283670 h 2561350"/>
                  <a:gd name="connsiteX21" fmla="*/ 1030195 w 2086934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270566 w 2084621"/>
                  <a:gd name="connsiteY14" fmla="*/ 1561668 h 2561350"/>
                  <a:gd name="connsiteX15" fmla="*/ 248292 w 2084621"/>
                  <a:gd name="connsiteY15" fmla="*/ 1045298 h 2561350"/>
                  <a:gd name="connsiteX16" fmla="*/ 7630 w 2084621"/>
                  <a:gd name="connsiteY16" fmla="*/ 1018431 h 2561350"/>
                  <a:gd name="connsiteX17" fmla="*/ 109253 w 2084621"/>
                  <a:gd name="connsiteY17" fmla="*/ 382371 h 2561350"/>
                  <a:gd name="connsiteX18" fmla="*/ 827043 w 2084621"/>
                  <a:gd name="connsiteY18" fmla="*/ 389002 h 2561350"/>
                  <a:gd name="connsiteX19" fmla="*/ 792139 w 2084621"/>
                  <a:gd name="connsiteY19" fmla="*/ 283670 h 2561350"/>
                  <a:gd name="connsiteX20" fmla="*/ 1027882 w 2084621"/>
                  <a:gd name="connsiteY20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76730 w 2084621"/>
                  <a:gd name="connsiteY14" fmla="*/ 1866419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33820 w 2090559"/>
                  <a:gd name="connsiteY0" fmla="*/ 3 h 2561350"/>
                  <a:gd name="connsiteX1" fmla="*/ 1248133 w 2090559"/>
                  <a:gd name="connsiteY1" fmla="*/ 286050 h 2561350"/>
                  <a:gd name="connsiteX2" fmla="*/ 1225997 w 2090559"/>
                  <a:gd name="connsiteY2" fmla="*/ 389002 h 2561350"/>
                  <a:gd name="connsiteX3" fmla="*/ 1977285 w 2090559"/>
                  <a:gd name="connsiteY3" fmla="*/ 369108 h 2561350"/>
                  <a:gd name="connsiteX4" fmla="*/ 1970653 w 2090559"/>
                  <a:gd name="connsiteY4" fmla="*/ 1096546 h 2561350"/>
                  <a:gd name="connsiteX5" fmla="*/ 1868073 w 2090559"/>
                  <a:gd name="connsiteY5" fmla="*/ 1037347 h 2561350"/>
                  <a:gd name="connsiteX6" fmla="*/ 1852431 w 2090559"/>
                  <a:gd name="connsiteY6" fmla="*/ 1520560 h 2561350"/>
                  <a:gd name="connsiteX7" fmla="*/ 2003811 w 2090559"/>
                  <a:gd name="connsiteY7" fmla="*/ 1456260 h 2561350"/>
                  <a:gd name="connsiteX8" fmla="*/ 1957391 w 2090559"/>
                  <a:gd name="connsiteY8" fmla="*/ 2180265 h 2561350"/>
                  <a:gd name="connsiteX9" fmla="*/ 1228260 w 2090559"/>
                  <a:gd name="connsiteY9" fmla="*/ 2167002 h 2561350"/>
                  <a:gd name="connsiteX10" fmla="*/ 1248133 w 2090559"/>
                  <a:gd name="connsiteY10" fmla="*/ 2275300 h 2561350"/>
                  <a:gd name="connsiteX11" fmla="*/ 798077 w 2090559"/>
                  <a:gd name="connsiteY11" fmla="*/ 2277680 h 2561350"/>
                  <a:gd name="connsiteX12" fmla="*/ 828010 w 2090559"/>
                  <a:gd name="connsiteY12" fmla="*/ 2167002 h 2561350"/>
                  <a:gd name="connsiteX13" fmla="*/ 135085 w 2090559"/>
                  <a:gd name="connsiteY13" fmla="*/ 2200159 h 2561350"/>
                  <a:gd name="connsiteX14" fmla="*/ 6108 w 2090559"/>
                  <a:gd name="connsiteY14" fmla="*/ 1657531 h 2561350"/>
                  <a:gd name="connsiteX15" fmla="*/ 276504 w 2090559"/>
                  <a:gd name="connsiteY15" fmla="*/ 1561668 h 2561350"/>
                  <a:gd name="connsiteX16" fmla="*/ 254230 w 2090559"/>
                  <a:gd name="connsiteY16" fmla="*/ 1045298 h 2561350"/>
                  <a:gd name="connsiteX17" fmla="*/ 13568 w 2090559"/>
                  <a:gd name="connsiteY17" fmla="*/ 1018431 h 2561350"/>
                  <a:gd name="connsiteX18" fmla="*/ 115191 w 2090559"/>
                  <a:gd name="connsiteY18" fmla="*/ 382371 h 2561350"/>
                  <a:gd name="connsiteX19" fmla="*/ 832981 w 2090559"/>
                  <a:gd name="connsiteY19" fmla="*/ 389002 h 2561350"/>
                  <a:gd name="connsiteX20" fmla="*/ 798077 w 2090559"/>
                  <a:gd name="connsiteY20" fmla="*/ 283670 h 2561350"/>
                  <a:gd name="connsiteX21" fmla="*/ 1033820 w 2090559"/>
                  <a:gd name="connsiteY21" fmla="*/ 3 h 2561350"/>
                  <a:gd name="connsiteX0" fmla="*/ 1032856 w 2089595"/>
                  <a:gd name="connsiteY0" fmla="*/ 3 h 2561350"/>
                  <a:gd name="connsiteX1" fmla="*/ 1247169 w 2089595"/>
                  <a:gd name="connsiteY1" fmla="*/ 286050 h 2561350"/>
                  <a:gd name="connsiteX2" fmla="*/ 1225033 w 2089595"/>
                  <a:gd name="connsiteY2" fmla="*/ 389002 h 2561350"/>
                  <a:gd name="connsiteX3" fmla="*/ 1976321 w 2089595"/>
                  <a:gd name="connsiteY3" fmla="*/ 369108 h 2561350"/>
                  <a:gd name="connsiteX4" fmla="*/ 1969689 w 2089595"/>
                  <a:gd name="connsiteY4" fmla="*/ 1096546 h 2561350"/>
                  <a:gd name="connsiteX5" fmla="*/ 1867109 w 2089595"/>
                  <a:gd name="connsiteY5" fmla="*/ 1037347 h 2561350"/>
                  <a:gd name="connsiteX6" fmla="*/ 1851467 w 2089595"/>
                  <a:gd name="connsiteY6" fmla="*/ 1520560 h 2561350"/>
                  <a:gd name="connsiteX7" fmla="*/ 2002847 w 2089595"/>
                  <a:gd name="connsiteY7" fmla="*/ 1456260 h 2561350"/>
                  <a:gd name="connsiteX8" fmla="*/ 1956427 w 2089595"/>
                  <a:gd name="connsiteY8" fmla="*/ 2180265 h 2561350"/>
                  <a:gd name="connsiteX9" fmla="*/ 1227296 w 2089595"/>
                  <a:gd name="connsiteY9" fmla="*/ 2167002 h 2561350"/>
                  <a:gd name="connsiteX10" fmla="*/ 1247169 w 2089595"/>
                  <a:gd name="connsiteY10" fmla="*/ 2275300 h 2561350"/>
                  <a:gd name="connsiteX11" fmla="*/ 797113 w 2089595"/>
                  <a:gd name="connsiteY11" fmla="*/ 2277680 h 2561350"/>
                  <a:gd name="connsiteX12" fmla="*/ 827046 w 2089595"/>
                  <a:gd name="connsiteY12" fmla="*/ 2167002 h 2561350"/>
                  <a:gd name="connsiteX13" fmla="*/ 134121 w 2089595"/>
                  <a:gd name="connsiteY13" fmla="*/ 2200159 h 2561350"/>
                  <a:gd name="connsiteX14" fmla="*/ 5144 w 2089595"/>
                  <a:gd name="connsiteY14" fmla="*/ 1657531 h 2561350"/>
                  <a:gd name="connsiteX15" fmla="*/ 275540 w 2089595"/>
                  <a:gd name="connsiteY15" fmla="*/ 1561668 h 2561350"/>
                  <a:gd name="connsiteX16" fmla="*/ 253266 w 2089595"/>
                  <a:gd name="connsiteY16" fmla="*/ 1045298 h 2561350"/>
                  <a:gd name="connsiteX17" fmla="*/ 12604 w 2089595"/>
                  <a:gd name="connsiteY17" fmla="*/ 1018431 h 2561350"/>
                  <a:gd name="connsiteX18" fmla="*/ 114227 w 2089595"/>
                  <a:gd name="connsiteY18" fmla="*/ 382371 h 2561350"/>
                  <a:gd name="connsiteX19" fmla="*/ 832017 w 2089595"/>
                  <a:gd name="connsiteY19" fmla="*/ 389002 h 2561350"/>
                  <a:gd name="connsiteX20" fmla="*/ 797113 w 2089595"/>
                  <a:gd name="connsiteY20" fmla="*/ 283670 h 2561350"/>
                  <a:gd name="connsiteX21" fmla="*/ 1032856 w 2089595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1863015 w 2081039"/>
                  <a:gd name="connsiteY4" fmla="*/ 1037347 h 2561350"/>
                  <a:gd name="connsiteX5" fmla="*/ 1847373 w 2081039"/>
                  <a:gd name="connsiteY5" fmla="*/ 1520560 h 2561350"/>
                  <a:gd name="connsiteX6" fmla="*/ 1998753 w 2081039"/>
                  <a:gd name="connsiteY6" fmla="*/ 1456260 h 2561350"/>
                  <a:gd name="connsiteX7" fmla="*/ 1952333 w 2081039"/>
                  <a:gd name="connsiteY7" fmla="*/ 2180265 h 2561350"/>
                  <a:gd name="connsiteX8" fmla="*/ 1223202 w 2081039"/>
                  <a:gd name="connsiteY8" fmla="*/ 2167002 h 2561350"/>
                  <a:gd name="connsiteX9" fmla="*/ 1243075 w 2081039"/>
                  <a:gd name="connsiteY9" fmla="*/ 2275300 h 2561350"/>
                  <a:gd name="connsiteX10" fmla="*/ 793019 w 2081039"/>
                  <a:gd name="connsiteY10" fmla="*/ 2277680 h 2561350"/>
                  <a:gd name="connsiteX11" fmla="*/ 822952 w 2081039"/>
                  <a:gd name="connsiteY11" fmla="*/ 2167002 h 2561350"/>
                  <a:gd name="connsiteX12" fmla="*/ 130027 w 2081039"/>
                  <a:gd name="connsiteY12" fmla="*/ 2200159 h 2561350"/>
                  <a:gd name="connsiteX13" fmla="*/ 1050 w 2081039"/>
                  <a:gd name="connsiteY13" fmla="*/ 1657531 h 2561350"/>
                  <a:gd name="connsiteX14" fmla="*/ 271446 w 2081039"/>
                  <a:gd name="connsiteY14" fmla="*/ 1561668 h 2561350"/>
                  <a:gd name="connsiteX15" fmla="*/ 249172 w 2081039"/>
                  <a:gd name="connsiteY15" fmla="*/ 1045298 h 2561350"/>
                  <a:gd name="connsiteX16" fmla="*/ 8510 w 2081039"/>
                  <a:gd name="connsiteY16" fmla="*/ 1018431 h 2561350"/>
                  <a:gd name="connsiteX17" fmla="*/ 110133 w 2081039"/>
                  <a:gd name="connsiteY17" fmla="*/ 382371 h 2561350"/>
                  <a:gd name="connsiteX18" fmla="*/ 827923 w 2081039"/>
                  <a:gd name="connsiteY18" fmla="*/ 389002 h 2561350"/>
                  <a:gd name="connsiteX19" fmla="*/ 793019 w 2081039"/>
                  <a:gd name="connsiteY19" fmla="*/ 283670 h 2561350"/>
                  <a:gd name="connsiteX20" fmla="*/ 1028762 w 2081039"/>
                  <a:gd name="connsiteY20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1933270 w 2081039"/>
                  <a:gd name="connsiteY4" fmla="*/ 764780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7307 w 2081039"/>
                  <a:gd name="connsiteY3" fmla="*/ 371595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7307 w 2081039"/>
                  <a:gd name="connsiteY3" fmla="*/ 371595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9793 w 2081039"/>
                  <a:gd name="connsiteY3" fmla="*/ 36164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9793 w 2081039"/>
                  <a:gd name="connsiteY3" fmla="*/ 36164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1952333 w 2072429"/>
                  <a:gd name="connsiteY7" fmla="*/ 2180265 h 2561350"/>
                  <a:gd name="connsiteX8" fmla="*/ 1223202 w 2072429"/>
                  <a:gd name="connsiteY8" fmla="*/ 2167002 h 2561350"/>
                  <a:gd name="connsiteX9" fmla="*/ 1243075 w 2072429"/>
                  <a:gd name="connsiteY9" fmla="*/ 2275300 h 2561350"/>
                  <a:gd name="connsiteX10" fmla="*/ 793019 w 2072429"/>
                  <a:gd name="connsiteY10" fmla="*/ 2277680 h 2561350"/>
                  <a:gd name="connsiteX11" fmla="*/ 822952 w 2072429"/>
                  <a:gd name="connsiteY11" fmla="*/ 2167002 h 2561350"/>
                  <a:gd name="connsiteX12" fmla="*/ 130027 w 2072429"/>
                  <a:gd name="connsiteY12" fmla="*/ 2200159 h 2561350"/>
                  <a:gd name="connsiteX13" fmla="*/ 1050 w 2072429"/>
                  <a:gd name="connsiteY13" fmla="*/ 1657531 h 2561350"/>
                  <a:gd name="connsiteX14" fmla="*/ 271446 w 2072429"/>
                  <a:gd name="connsiteY14" fmla="*/ 1561668 h 2561350"/>
                  <a:gd name="connsiteX15" fmla="*/ 249172 w 2072429"/>
                  <a:gd name="connsiteY15" fmla="*/ 1045298 h 2561350"/>
                  <a:gd name="connsiteX16" fmla="*/ 8510 w 2072429"/>
                  <a:gd name="connsiteY16" fmla="*/ 1018431 h 2561350"/>
                  <a:gd name="connsiteX17" fmla="*/ 110133 w 2072429"/>
                  <a:gd name="connsiteY17" fmla="*/ 382371 h 2561350"/>
                  <a:gd name="connsiteX18" fmla="*/ 827923 w 2072429"/>
                  <a:gd name="connsiteY18" fmla="*/ 389002 h 2561350"/>
                  <a:gd name="connsiteX19" fmla="*/ 793019 w 2072429"/>
                  <a:gd name="connsiteY19" fmla="*/ 283670 h 2561350"/>
                  <a:gd name="connsiteX20" fmla="*/ 1028762 w 2072429"/>
                  <a:gd name="connsiteY20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1890996 w 2072429"/>
                  <a:gd name="connsiteY7" fmla="*/ 1722186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47373 w 2072429"/>
                  <a:gd name="connsiteY5" fmla="*/ 1535481 h 2561350"/>
                  <a:gd name="connsiteX6" fmla="*/ 2065070 w 2072429"/>
                  <a:gd name="connsiteY6" fmla="*/ 1597847 h 2561350"/>
                  <a:gd name="connsiteX7" fmla="*/ 1952333 w 2072429"/>
                  <a:gd name="connsiteY7" fmla="*/ 2180265 h 2561350"/>
                  <a:gd name="connsiteX8" fmla="*/ 1223202 w 2072429"/>
                  <a:gd name="connsiteY8" fmla="*/ 2167002 h 2561350"/>
                  <a:gd name="connsiteX9" fmla="*/ 1243075 w 2072429"/>
                  <a:gd name="connsiteY9" fmla="*/ 2275300 h 2561350"/>
                  <a:gd name="connsiteX10" fmla="*/ 793019 w 2072429"/>
                  <a:gd name="connsiteY10" fmla="*/ 2277680 h 2561350"/>
                  <a:gd name="connsiteX11" fmla="*/ 822952 w 2072429"/>
                  <a:gd name="connsiteY11" fmla="*/ 2167002 h 2561350"/>
                  <a:gd name="connsiteX12" fmla="*/ 130027 w 2072429"/>
                  <a:gd name="connsiteY12" fmla="*/ 2200159 h 2561350"/>
                  <a:gd name="connsiteX13" fmla="*/ 1050 w 2072429"/>
                  <a:gd name="connsiteY13" fmla="*/ 1657531 h 2561350"/>
                  <a:gd name="connsiteX14" fmla="*/ 271446 w 2072429"/>
                  <a:gd name="connsiteY14" fmla="*/ 1561668 h 2561350"/>
                  <a:gd name="connsiteX15" fmla="*/ 249172 w 2072429"/>
                  <a:gd name="connsiteY15" fmla="*/ 1045298 h 2561350"/>
                  <a:gd name="connsiteX16" fmla="*/ 8510 w 2072429"/>
                  <a:gd name="connsiteY16" fmla="*/ 1018431 h 2561350"/>
                  <a:gd name="connsiteX17" fmla="*/ 110133 w 2072429"/>
                  <a:gd name="connsiteY17" fmla="*/ 382371 h 2561350"/>
                  <a:gd name="connsiteX18" fmla="*/ 827923 w 2072429"/>
                  <a:gd name="connsiteY18" fmla="*/ 389002 h 2561350"/>
                  <a:gd name="connsiteX19" fmla="*/ 793019 w 2072429"/>
                  <a:gd name="connsiteY19" fmla="*/ 283670 h 2561350"/>
                  <a:gd name="connsiteX20" fmla="*/ 1028762 w 2072429"/>
                  <a:gd name="connsiteY20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997927 w 2072429"/>
                  <a:gd name="connsiteY5" fmla="*/ 118007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1048 w 2072429"/>
                  <a:gd name="connsiteY5" fmla="*/ 1030865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1048 w 2072429"/>
                  <a:gd name="connsiteY5" fmla="*/ 1030865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70777 w 2069564"/>
                  <a:gd name="connsiteY16" fmla="*/ 1028015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70777 w 2069564"/>
                  <a:gd name="connsiteY16" fmla="*/ 1028015 h 2561350"/>
                  <a:gd name="connsiteX17" fmla="*/ 30115 w 2069564"/>
                  <a:gd name="connsiteY17" fmla="*/ 1005469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70777 w 2069564"/>
                  <a:gd name="connsiteY16" fmla="*/ 1028015 h 2561350"/>
                  <a:gd name="connsiteX17" fmla="*/ 30115 w 2069564"/>
                  <a:gd name="connsiteY17" fmla="*/ 1005469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58483 w 2069564"/>
                  <a:gd name="connsiteY15" fmla="*/ 1557347 h 2561350"/>
                  <a:gd name="connsiteX16" fmla="*/ 270777 w 2069564"/>
                  <a:gd name="connsiteY16" fmla="*/ 1028015 h 2561350"/>
                  <a:gd name="connsiteX17" fmla="*/ 30115 w 2069564"/>
                  <a:gd name="connsiteY17" fmla="*/ 1005469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58483 w 2069564"/>
                  <a:gd name="connsiteY15" fmla="*/ 1557347 h 2561350"/>
                  <a:gd name="connsiteX16" fmla="*/ 270777 w 2069564"/>
                  <a:gd name="connsiteY16" fmla="*/ 1028015 h 2561350"/>
                  <a:gd name="connsiteX17" fmla="*/ 30115 w 2069564"/>
                  <a:gd name="connsiteY17" fmla="*/ 1005469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362 w 2069164"/>
                  <a:gd name="connsiteY0" fmla="*/ 3 h 2561350"/>
                  <a:gd name="connsiteX1" fmla="*/ 1242675 w 2069164"/>
                  <a:gd name="connsiteY1" fmla="*/ 286050 h 2561350"/>
                  <a:gd name="connsiteX2" fmla="*/ 1220539 w 2069164"/>
                  <a:gd name="connsiteY2" fmla="*/ 389002 h 2561350"/>
                  <a:gd name="connsiteX3" fmla="*/ 1959393 w 2069164"/>
                  <a:gd name="connsiteY3" fmla="*/ 361648 h 2561350"/>
                  <a:gd name="connsiteX4" fmla="*/ 2067156 w 2069164"/>
                  <a:gd name="connsiteY4" fmla="*/ 961234 h 2561350"/>
                  <a:gd name="connsiteX5" fmla="*/ 1880648 w 2069164"/>
                  <a:gd name="connsiteY5" fmla="*/ 1030865 h 2561350"/>
                  <a:gd name="connsiteX6" fmla="*/ 1846973 w 2069164"/>
                  <a:gd name="connsiteY6" fmla="*/ 1535481 h 2561350"/>
                  <a:gd name="connsiteX7" fmla="*/ 2064670 w 2069164"/>
                  <a:gd name="connsiteY7" fmla="*/ 1597847 h 2561350"/>
                  <a:gd name="connsiteX8" fmla="*/ 1951933 w 2069164"/>
                  <a:gd name="connsiteY8" fmla="*/ 2180265 h 2561350"/>
                  <a:gd name="connsiteX9" fmla="*/ 1222802 w 2069164"/>
                  <a:gd name="connsiteY9" fmla="*/ 2167002 h 2561350"/>
                  <a:gd name="connsiteX10" fmla="*/ 1242675 w 2069164"/>
                  <a:gd name="connsiteY10" fmla="*/ 2275300 h 2561350"/>
                  <a:gd name="connsiteX11" fmla="*/ 792619 w 2069164"/>
                  <a:gd name="connsiteY11" fmla="*/ 2277680 h 2561350"/>
                  <a:gd name="connsiteX12" fmla="*/ 822552 w 2069164"/>
                  <a:gd name="connsiteY12" fmla="*/ 2167002 h 2561350"/>
                  <a:gd name="connsiteX13" fmla="*/ 129627 w 2069164"/>
                  <a:gd name="connsiteY13" fmla="*/ 2200159 h 2561350"/>
                  <a:gd name="connsiteX14" fmla="*/ 650 w 2069164"/>
                  <a:gd name="connsiteY14" fmla="*/ 1657531 h 2561350"/>
                  <a:gd name="connsiteX15" fmla="*/ 258083 w 2069164"/>
                  <a:gd name="connsiteY15" fmla="*/ 1557347 h 2561350"/>
                  <a:gd name="connsiteX16" fmla="*/ 270377 w 2069164"/>
                  <a:gd name="connsiteY16" fmla="*/ 1028015 h 2561350"/>
                  <a:gd name="connsiteX17" fmla="*/ 29715 w 2069164"/>
                  <a:gd name="connsiteY17" fmla="*/ 1005469 h 2561350"/>
                  <a:gd name="connsiteX18" fmla="*/ 109733 w 2069164"/>
                  <a:gd name="connsiteY18" fmla="*/ 382371 h 2561350"/>
                  <a:gd name="connsiteX19" fmla="*/ 827523 w 2069164"/>
                  <a:gd name="connsiteY19" fmla="*/ 389002 h 2561350"/>
                  <a:gd name="connsiteX20" fmla="*/ 792619 w 2069164"/>
                  <a:gd name="connsiteY20" fmla="*/ 283670 h 2561350"/>
                  <a:gd name="connsiteX21" fmla="*/ 1028362 w 206916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69727 w 2068514"/>
                  <a:gd name="connsiteY16" fmla="*/ 1028015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69727 w 2068514"/>
                  <a:gd name="connsiteY16" fmla="*/ 1028015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9083 w 2068514"/>
                  <a:gd name="connsiteY18" fmla="*/ 382371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79998 w 2068514"/>
                  <a:gd name="connsiteY5" fmla="*/ 1030865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46323 w 2068514"/>
                  <a:gd name="connsiteY6" fmla="*/ 1535481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8514"/>
                  <a:gd name="connsiteY0" fmla="*/ 3 h 2561350"/>
                  <a:gd name="connsiteX1" fmla="*/ 1242025 w 2068514"/>
                  <a:gd name="connsiteY1" fmla="*/ 286050 h 2561350"/>
                  <a:gd name="connsiteX2" fmla="*/ 1219889 w 2068514"/>
                  <a:gd name="connsiteY2" fmla="*/ 389002 h 2561350"/>
                  <a:gd name="connsiteX3" fmla="*/ 1958743 w 2068514"/>
                  <a:gd name="connsiteY3" fmla="*/ 361648 h 2561350"/>
                  <a:gd name="connsiteX4" fmla="*/ 2066506 w 2068514"/>
                  <a:gd name="connsiteY4" fmla="*/ 961234 h 2561350"/>
                  <a:gd name="connsiteX5" fmla="*/ 1862717 w 2068514"/>
                  <a:gd name="connsiteY5" fmla="*/ 1056790 h 2561350"/>
                  <a:gd name="connsiteX6" fmla="*/ 1824721 w 2068514"/>
                  <a:gd name="connsiteY6" fmla="*/ 1531159 h 2561350"/>
                  <a:gd name="connsiteX7" fmla="*/ 2064020 w 2068514"/>
                  <a:gd name="connsiteY7" fmla="*/ 1597847 h 2561350"/>
                  <a:gd name="connsiteX8" fmla="*/ 1951283 w 2068514"/>
                  <a:gd name="connsiteY8" fmla="*/ 2180265 h 2561350"/>
                  <a:gd name="connsiteX9" fmla="*/ 1222152 w 2068514"/>
                  <a:gd name="connsiteY9" fmla="*/ 2167002 h 2561350"/>
                  <a:gd name="connsiteX10" fmla="*/ 1242025 w 2068514"/>
                  <a:gd name="connsiteY10" fmla="*/ 2275300 h 2561350"/>
                  <a:gd name="connsiteX11" fmla="*/ 791969 w 2068514"/>
                  <a:gd name="connsiteY11" fmla="*/ 2277680 h 2561350"/>
                  <a:gd name="connsiteX12" fmla="*/ 821902 w 2068514"/>
                  <a:gd name="connsiteY12" fmla="*/ 2167002 h 2561350"/>
                  <a:gd name="connsiteX13" fmla="*/ 128977 w 2068514"/>
                  <a:gd name="connsiteY13" fmla="*/ 2200159 h 2561350"/>
                  <a:gd name="connsiteX14" fmla="*/ 0 w 2068514"/>
                  <a:gd name="connsiteY14" fmla="*/ 1657531 h 2561350"/>
                  <a:gd name="connsiteX15" fmla="*/ 257433 w 2068514"/>
                  <a:gd name="connsiteY15" fmla="*/ 1557347 h 2561350"/>
                  <a:gd name="connsiteX16" fmla="*/ 239483 w 2068514"/>
                  <a:gd name="connsiteY16" fmla="*/ 1049619 h 2561350"/>
                  <a:gd name="connsiteX17" fmla="*/ 29065 w 2068514"/>
                  <a:gd name="connsiteY17" fmla="*/ 1005469 h 2561350"/>
                  <a:gd name="connsiteX18" fmla="*/ 100444 w 2068514"/>
                  <a:gd name="connsiteY18" fmla="*/ 369408 h 2561350"/>
                  <a:gd name="connsiteX19" fmla="*/ 826873 w 2068514"/>
                  <a:gd name="connsiteY19" fmla="*/ 389002 h 2561350"/>
                  <a:gd name="connsiteX20" fmla="*/ 791969 w 2068514"/>
                  <a:gd name="connsiteY20" fmla="*/ 283670 h 2561350"/>
                  <a:gd name="connsiteX21" fmla="*/ 1027712 w 2068514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64020 w 2066875"/>
                  <a:gd name="connsiteY7" fmla="*/ 1597847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06489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19452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19452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875"/>
                  <a:gd name="connsiteY0" fmla="*/ 3 h 2561350"/>
                  <a:gd name="connsiteX1" fmla="*/ 1242025 w 2066875"/>
                  <a:gd name="connsiteY1" fmla="*/ 286050 h 2561350"/>
                  <a:gd name="connsiteX2" fmla="*/ 1219889 w 2066875"/>
                  <a:gd name="connsiteY2" fmla="*/ 389002 h 2561350"/>
                  <a:gd name="connsiteX3" fmla="*/ 1958743 w 2066875"/>
                  <a:gd name="connsiteY3" fmla="*/ 361648 h 2561350"/>
                  <a:gd name="connsiteX4" fmla="*/ 2066506 w 2066875"/>
                  <a:gd name="connsiteY4" fmla="*/ 961234 h 2561350"/>
                  <a:gd name="connsiteX5" fmla="*/ 1862717 w 2066875"/>
                  <a:gd name="connsiteY5" fmla="*/ 1056790 h 2561350"/>
                  <a:gd name="connsiteX6" fmla="*/ 1824721 w 2066875"/>
                  <a:gd name="connsiteY6" fmla="*/ 1531159 h 2561350"/>
                  <a:gd name="connsiteX7" fmla="*/ 2042416 w 2066875"/>
                  <a:gd name="connsiteY7" fmla="*/ 1619452 h 2561350"/>
                  <a:gd name="connsiteX8" fmla="*/ 1951283 w 2066875"/>
                  <a:gd name="connsiteY8" fmla="*/ 2180265 h 2561350"/>
                  <a:gd name="connsiteX9" fmla="*/ 1222152 w 2066875"/>
                  <a:gd name="connsiteY9" fmla="*/ 2167002 h 2561350"/>
                  <a:gd name="connsiteX10" fmla="*/ 1242025 w 2066875"/>
                  <a:gd name="connsiteY10" fmla="*/ 2275300 h 2561350"/>
                  <a:gd name="connsiteX11" fmla="*/ 791969 w 2066875"/>
                  <a:gd name="connsiteY11" fmla="*/ 2277680 h 2561350"/>
                  <a:gd name="connsiteX12" fmla="*/ 821902 w 2066875"/>
                  <a:gd name="connsiteY12" fmla="*/ 2167002 h 2561350"/>
                  <a:gd name="connsiteX13" fmla="*/ 128977 w 2066875"/>
                  <a:gd name="connsiteY13" fmla="*/ 2200159 h 2561350"/>
                  <a:gd name="connsiteX14" fmla="*/ 0 w 2066875"/>
                  <a:gd name="connsiteY14" fmla="*/ 1657531 h 2561350"/>
                  <a:gd name="connsiteX15" fmla="*/ 257433 w 2066875"/>
                  <a:gd name="connsiteY15" fmla="*/ 1557347 h 2561350"/>
                  <a:gd name="connsiteX16" fmla="*/ 239483 w 2066875"/>
                  <a:gd name="connsiteY16" fmla="*/ 1049619 h 2561350"/>
                  <a:gd name="connsiteX17" fmla="*/ 29065 w 2066875"/>
                  <a:gd name="connsiteY17" fmla="*/ 1005469 h 2561350"/>
                  <a:gd name="connsiteX18" fmla="*/ 100444 w 2066875"/>
                  <a:gd name="connsiteY18" fmla="*/ 369408 h 2561350"/>
                  <a:gd name="connsiteX19" fmla="*/ 826873 w 2066875"/>
                  <a:gd name="connsiteY19" fmla="*/ 389002 h 2561350"/>
                  <a:gd name="connsiteX20" fmla="*/ 791969 w 2066875"/>
                  <a:gd name="connsiteY20" fmla="*/ 283670 h 2561350"/>
                  <a:gd name="connsiteX21" fmla="*/ 1027712 w 2066875"/>
                  <a:gd name="connsiteY21" fmla="*/ 3 h 2561350"/>
                  <a:gd name="connsiteX0" fmla="*/ 1027712 w 2066952"/>
                  <a:gd name="connsiteY0" fmla="*/ 3 h 2561350"/>
                  <a:gd name="connsiteX1" fmla="*/ 1242025 w 2066952"/>
                  <a:gd name="connsiteY1" fmla="*/ 286050 h 2561350"/>
                  <a:gd name="connsiteX2" fmla="*/ 1219889 w 2066952"/>
                  <a:gd name="connsiteY2" fmla="*/ 389002 h 2561350"/>
                  <a:gd name="connsiteX3" fmla="*/ 1963063 w 2066952"/>
                  <a:gd name="connsiteY3" fmla="*/ 357327 h 2561350"/>
                  <a:gd name="connsiteX4" fmla="*/ 2066506 w 2066952"/>
                  <a:gd name="connsiteY4" fmla="*/ 961234 h 2561350"/>
                  <a:gd name="connsiteX5" fmla="*/ 1862717 w 2066952"/>
                  <a:gd name="connsiteY5" fmla="*/ 1056790 h 2561350"/>
                  <a:gd name="connsiteX6" fmla="*/ 1824721 w 2066952"/>
                  <a:gd name="connsiteY6" fmla="*/ 1531159 h 2561350"/>
                  <a:gd name="connsiteX7" fmla="*/ 2042416 w 2066952"/>
                  <a:gd name="connsiteY7" fmla="*/ 1619452 h 2561350"/>
                  <a:gd name="connsiteX8" fmla="*/ 1951283 w 2066952"/>
                  <a:gd name="connsiteY8" fmla="*/ 2180265 h 2561350"/>
                  <a:gd name="connsiteX9" fmla="*/ 1222152 w 2066952"/>
                  <a:gd name="connsiteY9" fmla="*/ 2167002 h 2561350"/>
                  <a:gd name="connsiteX10" fmla="*/ 1242025 w 2066952"/>
                  <a:gd name="connsiteY10" fmla="*/ 2275300 h 2561350"/>
                  <a:gd name="connsiteX11" fmla="*/ 791969 w 2066952"/>
                  <a:gd name="connsiteY11" fmla="*/ 2277680 h 2561350"/>
                  <a:gd name="connsiteX12" fmla="*/ 821902 w 2066952"/>
                  <a:gd name="connsiteY12" fmla="*/ 2167002 h 2561350"/>
                  <a:gd name="connsiteX13" fmla="*/ 128977 w 2066952"/>
                  <a:gd name="connsiteY13" fmla="*/ 2200159 h 2561350"/>
                  <a:gd name="connsiteX14" fmla="*/ 0 w 2066952"/>
                  <a:gd name="connsiteY14" fmla="*/ 1657531 h 2561350"/>
                  <a:gd name="connsiteX15" fmla="*/ 257433 w 2066952"/>
                  <a:gd name="connsiteY15" fmla="*/ 1557347 h 2561350"/>
                  <a:gd name="connsiteX16" fmla="*/ 239483 w 2066952"/>
                  <a:gd name="connsiteY16" fmla="*/ 1049619 h 2561350"/>
                  <a:gd name="connsiteX17" fmla="*/ 29065 w 2066952"/>
                  <a:gd name="connsiteY17" fmla="*/ 1005469 h 2561350"/>
                  <a:gd name="connsiteX18" fmla="*/ 100444 w 2066952"/>
                  <a:gd name="connsiteY18" fmla="*/ 369408 h 2561350"/>
                  <a:gd name="connsiteX19" fmla="*/ 826873 w 2066952"/>
                  <a:gd name="connsiteY19" fmla="*/ 389002 h 2561350"/>
                  <a:gd name="connsiteX20" fmla="*/ 791969 w 2066952"/>
                  <a:gd name="connsiteY20" fmla="*/ 283670 h 2561350"/>
                  <a:gd name="connsiteX21" fmla="*/ 1027712 w 2066952"/>
                  <a:gd name="connsiteY21" fmla="*/ 3 h 2561350"/>
                  <a:gd name="connsiteX0" fmla="*/ 1027712 w 2067063"/>
                  <a:gd name="connsiteY0" fmla="*/ 3 h 2561350"/>
                  <a:gd name="connsiteX1" fmla="*/ 1242025 w 2067063"/>
                  <a:gd name="connsiteY1" fmla="*/ 286050 h 2561350"/>
                  <a:gd name="connsiteX2" fmla="*/ 1219889 w 2067063"/>
                  <a:gd name="connsiteY2" fmla="*/ 389002 h 2561350"/>
                  <a:gd name="connsiteX3" fmla="*/ 1967384 w 2067063"/>
                  <a:gd name="connsiteY3" fmla="*/ 344364 h 2561350"/>
                  <a:gd name="connsiteX4" fmla="*/ 2066506 w 2067063"/>
                  <a:gd name="connsiteY4" fmla="*/ 961234 h 2561350"/>
                  <a:gd name="connsiteX5" fmla="*/ 1862717 w 2067063"/>
                  <a:gd name="connsiteY5" fmla="*/ 1056790 h 2561350"/>
                  <a:gd name="connsiteX6" fmla="*/ 1824721 w 2067063"/>
                  <a:gd name="connsiteY6" fmla="*/ 1531159 h 2561350"/>
                  <a:gd name="connsiteX7" fmla="*/ 2042416 w 2067063"/>
                  <a:gd name="connsiteY7" fmla="*/ 1619452 h 2561350"/>
                  <a:gd name="connsiteX8" fmla="*/ 1951283 w 2067063"/>
                  <a:gd name="connsiteY8" fmla="*/ 2180265 h 2561350"/>
                  <a:gd name="connsiteX9" fmla="*/ 1222152 w 2067063"/>
                  <a:gd name="connsiteY9" fmla="*/ 2167002 h 2561350"/>
                  <a:gd name="connsiteX10" fmla="*/ 1242025 w 2067063"/>
                  <a:gd name="connsiteY10" fmla="*/ 2275300 h 2561350"/>
                  <a:gd name="connsiteX11" fmla="*/ 791969 w 2067063"/>
                  <a:gd name="connsiteY11" fmla="*/ 2277680 h 2561350"/>
                  <a:gd name="connsiteX12" fmla="*/ 821902 w 2067063"/>
                  <a:gd name="connsiteY12" fmla="*/ 2167002 h 2561350"/>
                  <a:gd name="connsiteX13" fmla="*/ 128977 w 2067063"/>
                  <a:gd name="connsiteY13" fmla="*/ 2200159 h 2561350"/>
                  <a:gd name="connsiteX14" fmla="*/ 0 w 2067063"/>
                  <a:gd name="connsiteY14" fmla="*/ 1657531 h 2561350"/>
                  <a:gd name="connsiteX15" fmla="*/ 257433 w 2067063"/>
                  <a:gd name="connsiteY15" fmla="*/ 1557347 h 2561350"/>
                  <a:gd name="connsiteX16" fmla="*/ 239483 w 2067063"/>
                  <a:gd name="connsiteY16" fmla="*/ 1049619 h 2561350"/>
                  <a:gd name="connsiteX17" fmla="*/ 29065 w 2067063"/>
                  <a:gd name="connsiteY17" fmla="*/ 1005469 h 2561350"/>
                  <a:gd name="connsiteX18" fmla="*/ 100444 w 2067063"/>
                  <a:gd name="connsiteY18" fmla="*/ 369408 h 2561350"/>
                  <a:gd name="connsiteX19" fmla="*/ 826873 w 2067063"/>
                  <a:gd name="connsiteY19" fmla="*/ 389002 h 2561350"/>
                  <a:gd name="connsiteX20" fmla="*/ 791969 w 2067063"/>
                  <a:gd name="connsiteY20" fmla="*/ 283670 h 2561350"/>
                  <a:gd name="connsiteX21" fmla="*/ 1027712 w 2067063"/>
                  <a:gd name="connsiteY21" fmla="*/ 3 h 2561350"/>
                  <a:gd name="connsiteX0" fmla="*/ 1027712 w 2067063"/>
                  <a:gd name="connsiteY0" fmla="*/ 3 h 2561350"/>
                  <a:gd name="connsiteX1" fmla="*/ 1242025 w 2067063"/>
                  <a:gd name="connsiteY1" fmla="*/ 286050 h 2561350"/>
                  <a:gd name="connsiteX2" fmla="*/ 1219889 w 2067063"/>
                  <a:gd name="connsiteY2" fmla="*/ 389002 h 2561350"/>
                  <a:gd name="connsiteX3" fmla="*/ 1967384 w 2067063"/>
                  <a:gd name="connsiteY3" fmla="*/ 344364 h 2561350"/>
                  <a:gd name="connsiteX4" fmla="*/ 2066506 w 2067063"/>
                  <a:gd name="connsiteY4" fmla="*/ 961234 h 2561350"/>
                  <a:gd name="connsiteX5" fmla="*/ 1862717 w 2067063"/>
                  <a:gd name="connsiteY5" fmla="*/ 1056790 h 2561350"/>
                  <a:gd name="connsiteX6" fmla="*/ 1824721 w 2067063"/>
                  <a:gd name="connsiteY6" fmla="*/ 1531159 h 2561350"/>
                  <a:gd name="connsiteX7" fmla="*/ 2042416 w 2067063"/>
                  <a:gd name="connsiteY7" fmla="*/ 1619452 h 2561350"/>
                  <a:gd name="connsiteX8" fmla="*/ 1951283 w 2067063"/>
                  <a:gd name="connsiteY8" fmla="*/ 2180265 h 2561350"/>
                  <a:gd name="connsiteX9" fmla="*/ 1222152 w 2067063"/>
                  <a:gd name="connsiteY9" fmla="*/ 2167002 h 2561350"/>
                  <a:gd name="connsiteX10" fmla="*/ 1242025 w 2067063"/>
                  <a:gd name="connsiteY10" fmla="*/ 2275300 h 2561350"/>
                  <a:gd name="connsiteX11" fmla="*/ 791969 w 2067063"/>
                  <a:gd name="connsiteY11" fmla="*/ 2277680 h 2561350"/>
                  <a:gd name="connsiteX12" fmla="*/ 821902 w 2067063"/>
                  <a:gd name="connsiteY12" fmla="*/ 2167002 h 2561350"/>
                  <a:gd name="connsiteX13" fmla="*/ 128977 w 2067063"/>
                  <a:gd name="connsiteY13" fmla="*/ 2200159 h 2561350"/>
                  <a:gd name="connsiteX14" fmla="*/ 0 w 2067063"/>
                  <a:gd name="connsiteY14" fmla="*/ 1657531 h 2561350"/>
                  <a:gd name="connsiteX15" fmla="*/ 257433 w 2067063"/>
                  <a:gd name="connsiteY15" fmla="*/ 1557347 h 2561350"/>
                  <a:gd name="connsiteX16" fmla="*/ 239483 w 2067063"/>
                  <a:gd name="connsiteY16" fmla="*/ 1049619 h 2561350"/>
                  <a:gd name="connsiteX17" fmla="*/ 29065 w 2067063"/>
                  <a:gd name="connsiteY17" fmla="*/ 1005469 h 2561350"/>
                  <a:gd name="connsiteX18" fmla="*/ 100444 w 2067063"/>
                  <a:gd name="connsiteY18" fmla="*/ 369408 h 2561350"/>
                  <a:gd name="connsiteX19" fmla="*/ 826873 w 2067063"/>
                  <a:gd name="connsiteY19" fmla="*/ 389002 h 2561350"/>
                  <a:gd name="connsiteX20" fmla="*/ 791969 w 2067063"/>
                  <a:gd name="connsiteY20" fmla="*/ 283670 h 2561350"/>
                  <a:gd name="connsiteX21" fmla="*/ 1027712 w 2067063"/>
                  <a:gd name="connsiteY21" fmla="*/ 3 h 2561350"/>
                  <a:gd name="connsiteX0" fmla="*/ 1027712 w 2066650"/>
                  <a:gd name="connsiteY0" fmla="*/ 3 h 2561350"/>
                  <a:gd name="connsiteX1" fmla="*/ 1242025 w 2066650"/>
                  <a:gd name="connsiteY1" fmla="*/ 286050 h 2561350"/>
                  <a:gd name="connsiteX2" fmla="*/ 1219889 w 2066650"/>
                  <a:gd name="connsiteY2" fmla="*/ 389002 h 2561350"/>
                  <a:gd name="connsiteX3" fmla="*/ 1967384 w 2066650"/>
                  <a:gd name="connsiteY3" fmla="*/ 344364 h 2561350"/>
                  <a:gd name="connsiteX4" fmla="*/ 2066506 w 2066650"/>
                  <a:gd name="connsiteY4" fmla="*/ 961234 h 2561350"/>
                  <a:gd name="connsiteX5" fmla="*/ 1862717 w 2066650"/>
                  <a:gd name="connsiteY5" fmla="*/ 1056790 h 2561350"/>
                  <a:gd name="connsiteX6" fmla="*/ 1824721 w 2066650"/>
                  <a:gd name="connsiteY6" fmla="*/ 1531159 h 2561350"/>
                  <a:gd name="connsiteX7" fmla="*/ 2042416 w 2066650"/>
                  <a:gd name="connsiteY7" fmla="*/ 1619452 h 2561350"/>
                  <a:gd name="connsiteX8" fmla="*/ 1951283 w 2066650"/>
                  <a:gd name="connsiteY8" fmla="*/ 2180265 h 2561350"/>
                  <a:gd name="connsiteX9" fmla="*/ 1222152 w 2066650"/>
                  <a:gd name="connsiteY9" fmla="*/ 2167002 h 2561350"/>
                  <a:gd name="connsiteX10" fmla="*/ 1242025 w 2066650"/>
                  <a:gd name="connsiteY10" fmla="*/ 2275300 h 2561350"/>
                  <a:gd name="connsiteX11" fmla="*/ 791969 w 2066650"/>
                  <a:gd name="connsiteY11" fmla="*/ 2277680 h 2561350"/>
                  <a:gd name="connsiteX12" fmla="*/ 821902 w 2066650"/>
                  <a:gd name="connsiteY12" fmla="*/ 2167002 h 2561350"/>
                  <a:gd name="connsiteX13" fmla="*/ 128977 w 2066650"/>
                  <a:gd name="connsiteY13" fmla="*/ 2200159 h 2561350"/>
                  <a:gd name="connsiteX14" fmla="*/ 0 w 2066650"/>
                  <a:gd name="connsiteY14" fmla="*/ 1657531 h 2561350"/>
                  <a:gd name="connsiteX15" fmla="*/ 257433 w 2066650"/>
                  <a:gd name="connsiteY15" fmla="*/ 1557347 h 2561350"/>
                  <a:gd name="connsiteX16" fmla="*/ 239483 w 2066650"/>
                  <a:gd name="connsiteY16" fmla="*/ 1049619 h 2561350"/>
                  <a:gd name="connsiteX17" fmla="*/ 29065 w 2066650"/>
                  <a:gd name="connsiteY17" fmla="*/ 1005469 h 2561350"/>
                  <a:gd name="connsiteX18" fmla="*/ 100444 w 2066650"/>
                  <a:gd name="connsiteY18" fmla="*/ 369408 h 2561350"/>
                  <a:gd name="connsiteX19" fmla="*/ 826873 w 2066650"/>
                  <a:gd name="connsiteY19" fmla="*/ 389002 h 2561350"/>
                  <a:gd name="connsiteX20" fmla="*/ 791969 w 2066650"/>
                  <a:gd name="connsiteY20" fmla="*/ 283670 h 2561350"/>
                  <a:gd name="connsiteX21" fmla="*/ 1027712 w 2066650"/>
                  <a:gd name="connsiteY21" fmla="*/ 3 h 2561350"/>
                  <a:gd name="connsiteX0" fmla="*/ 1027712 w 2049409"/>
                  <a:gd name="connsiteY0" fmla="*/ 3 h 2561350"/>
                  <a:gd name="connsiteX1" fmla="*/ 1242025 w 2049409"/>
                  <a:gd name="connsiteY1" fmla="*/ 286050 h 2561350"/>
                  <a:gd name="connsiteX2" fmla="*/ 1219889 w 2049409"/>
                  <a:gd name="connsiteY2" fmla="*/ 389002 h 2561350"/>
                  <a:gd name="connsiteX3" fmla="*/ 1967384 w 2049409"/>
                  <a:gd name="connsiteY3" fmla="*/ 344364 h 2561350"/>
                  <a:gd name="connsiteX4" fmla="*/ 2049225 w 2049409"/>
                  <a:gd name="connsiteY4" fmla="*/ 926667 h 2561350"/>
                  <a:gd name="connsiteX5" fmla="*/ 1862717 w 2049409"/>
                  <a:gd name="connsiteY5" fmla="*/ 1056790 h 2561350"/>
                  <a:gd name="connsiteX6" fmla="*/ 1824721 w 2049409"/>
                  <a:gd name="connsiteY6" fmla="*/ 1531159 h 2561350"/>
                  <a:gd name="connsiteX7" fmla="*/ 2042416 w 2049409"/>
                  <a:gd name="connsiteY7" fmla="*/ 1619452 h 2561350"/>
                  <a:gd name="connsiteX8" fmla="*/ 1951283 w 2049409"/>
                  <a:gd name="connsiteY8" fmla="*/ 2180265 h 2561350"/>
                  <a:gd name="connsiteX9" fmla="*/ 1222152 w 2049409"/>
                  <a:gd name="connsiteY9" fmla="*/ 2167002 h 2561350"/>
                  <a:gd name="connsiteX10" fmla="*/ 1242025 w 2049409"/>
                  <a:gd name="connsiteY10" fmla="*/ 2275300 h 2561350"/>
                  <a:gd name="connsiteX11" fmla="*/ 791969 w 2049409"/>
                  <a:gd name="connsiteY11" fmla="*/ 2277680 h 2561350"/>
                  <a:gd name="connsiteX12" fmla="*/ 821902 w 2049409"/>
                  <a:gd name="connsiteY12" fmla="*/ 2167002 h 2561350"/>
                  <a:gd name="connsiteX13" fmla="*/ 128977 w 2049409"/>
                  <a:gd name="connsiteY13" fmla="*/ 2200159 h 2561350"/>
                  <a:gd name="connsiteX14" fmla="*/ 0 w 2049409"/>
                  <a:gd name="connsiteY14" fmla="*/ 1657531 h 2561350"/>
                  <a:gd name="connsiteX15" fmla="*/ 257433 w 2049409"/>
                  <a:gd name="connsiteY15" fmla="*/ 1557347 h 2561350"/>
                  <a:gd name="connsiteX16" fmla="*/ 239483 w 2049409"/>
                  <a:gd name="connsiteY16" fmla="*/ 1049619 h 2561350"/>
                  <a:gd name="connsiteX17" fmla="*/ 29065 w 2049409"/>
                  <a:gd name="connsiteY17" fmla="*/ 1005469 h 2561350"/>
                  <a:gd name="connsiteX18" fmla="*/ 100444 w 2049409"/>
                  <a:gd name="connsiteY18" fmla="*/ 369408 h 2561350"/>
                  <a:gd name="connsiteX19" fmla="*/ 826873 w 2049409"/>
                  <a:gd name="connsiteY19" fmla="*/ 389002 h 2561350"/>
                  <a:gd name="connsiteX20" fmla="*/ 791969 w 2049409"/>
                  <a:gd name="connsiteY20" fmla="*/ 283670 h 2561350"/>
                  <a:gd name="connsiteX21" fmla="*/ 1027712 w 2049409"/>
                  <a:gd name="connsiteY21" fmla="*/ 3 h 2561350"/>
                  <a:gd name="connsiteX0" fmla="*/ 1027712 w 2049338"/>
                  <a:gd name="connsiteY0" fmla="*/ 3 h 2561350"/>
                  <a:gd name="connsiteX1" fmla="*/ 1242025 w 2049338"/>
                  <a:gd name="connsiteY1" fmla="*/ 286050 h 2561350"/>
                  <a:gd name="connsiteX2" fmla="*/ 1219889 w 2049338"/>
                  <a:gd name="connsiteY2" fmla="*/ 389002 h 2561350"/>
                  <a:gd name="connsiteX3" fmla="*/ 1967384 w 2049338"/>
                  <a:gd name="connsiteY3" fmla="*/ 344364 h 2561350"/>
                  <a:gd name="connsiteX4" fmla="*/ 2049225 w 2049338"/>
                  <a:gd name="connsiteY4" fmla="*/ 926667 h 2561350"/>
                  <a:gd name="connsiteX5" fmla="*/ 1862717 w 2049338"/>
                  <a:gd name="connsiteY5" fmla="*/ 1056790 h 2561350"/>
                  <a:gd name="connsiteX6" fmla="*/ 1824721 w 2049338"/>
                  <a:gd name="connsiteY6" fmla="*/ 1531159 h 2561350"/>
                  <a:gd name="connsiteX7" fmla="*/ 2042416 w 2049338"/>
                  <a:gd name="connsiteY7" fmla="*/ 1619452 h 2561350"/>
                  <a:gd name="connsiteX8" fmla="*/ 1951283 w 2049338"/>
                  <a:gd name="connsiteY8" fmla="*/ 2180265 h 2561350"/>
                  <a:gd name="connsiteX9" fmla="*/ 1222152 w 2049338"/>
                  <a:gd name="connsiteY9" fmla="*/ 2167002 h 2561350"/>
                  <a:gd name="connsiteX10" fmla="*/ 1242025 w 2049338"/>
                  <a:gd name="connsiteY10" fmla="*/ 2275300 h 2561350"/>
                  <a:gd name="connsiteX11" fmla="*/ 791969 w 2049338"/>
                  <a:gd name="connsiteY11" fmla="*/ 2277680 h 2561350"/>
                  <a:gd name="connsiteX12" fmla="*/ 821902 w 2049338"/>
                  <a:gd name="connsiteY12" fmla="*/ 2167002 h 2561350"/>
                  <a:gd name="connsiteX13" fmla="*/ 128977 w 2049338"/>
                  <a:gd name="connsiteY13" fmla="*/ 2200159 h 2561350"/>
                  <a:gd name="connsiteX14" fmla="*/ 0 w 2049338"/>
                  <a:gd name="connsiteY14" fmla="*/ 1657531 h 2561350"/>
                  <a:gd name="connsiteX15" fmla="*/ 257433 w 2049338"/>
                  <a:gd name="connsiteY15" fmla="*/ 1557347 h 2561350"/>
                  <a:gd name="connsiteX16" fmla="*/ 239483 w 2049338"/>
                  <a:gd name="connsiteY16" fmla="*/ 1049619 h 2561350"/>
                  <a:gd name="connsiteX17" fmla="*/ 29065 w 2049338"/>
                  <a:gd name="connsiteY17" fmla="*/ 1005469 h 2561350"/>
                  <a:gd name="connsiteX18" fmla="*/ 100444 w 2049338"/>
                  <a:gd name="connsiteY18" fmla="*/ 369408 h 2561350"/>
                  <a:gd name="connsiteX19" fmla="*/ 826873 w 2049338"/>
                  <a:gd name="connsiteY19" fmla="*/ 389002 h 2561350"/>
                  <a:gd name="connsiteX20" fmla="*/ 791969 w 2049338"/>
                  <a:gd name="connsiteY20" fmla="*/ 283670 h 2561350"/>
                  <a:gd name="connsiteX21" fmla="*/ 1027712 w 2049338"/>
                  <a:gd name="connsiteY21" fmla="*/ 3 h 2561350"/>
                  <a:gd name="connsiteX0" fmla="*/ 1027712 w 2053522"/>
                  <a:gd name="connsiteY0" fmla="*/ 3 h 2561350"/>
                  <a:gd name="connsiteX1" fmla="*/ 1242025 w 2053522"/>
                  <a:gd name="connsiteY1" fmla="*/ 286050 h 2561350"/>
                  <a:gd name="connsiteX2" fmla="*/ 1219889 w 2053522"/>
                  <a:gd name="connsiteY2" fmla="*/ 389002 h 2561350"/>
                  <a:gd name="connsiteX3" fmla="*/ 1967384 w 2053522"/>
                  <a:gd name="connsiteY3" fmla="*/ 344364 h 2561350"/>
                  <a:gd name="connsiteX4" fmla="*/ 2049225 w 2053522"/>
                  <a:gd name="connsiteY4" fmla="*/ 926667 h 2561350"/>
                  <a:gd name="connsiteX5" fmla="*/ 1862717 w 2053522"/>
                  <a:gd name="connsiteY5" fmla="*/ 1056790 h 2561350"/>
                  <a:gd name="connsiteX6" fmla="*/ 1824721 w 2053522"/>
                  <a:gd name="connsiteY6" fmla="*/ 1531159 h 2561350"/>
                  <a:gd name="connsiteX7" fmla="*/ 2042416 w 2053522"/>
                  <a:gd name="connsiteY7" fmla="*/ 1619452 h 2561350"/>
                  <a:gd name="connsiteX8" fmla="*/ 1951283 w 2053522"/>
                  <a:gd name="connsiteY8" fmla="*/ 2180265 h 2561350"/>
                  <a:gd name="connsiteX9" fmla="*/ 1222152 w 2053522"/>
                  <a:gd name="connsiteY9" fmla="*/ 2167002 h 2561350"/>
                  <a:gd name="connsiteX10" fmla="*/ 1242025 w 2053522"/>
                  <a:gd name="connsiteY10" fmla="*/ 2275300 h 2561350"/>
                  <a:gd name="connsiteX11" fmla="*/ 791969 w 2053522"/>
                  <a:gd name="connsiteY11" fmla="*/ 2277680 h 2561350"/>
                  <a:gd name="connsiteX12" fmla="*/ 821902 w 2053522"/>
                  <a:gd name="connsiteY12" fmla="*/ 2167002 h 2561350"/>
                  <a:gd name="connsiteX13" fmla="*/ 128977 w 2053522"/>
                  <a:gd name="connsiteY13" fmla="*/ 2200159 h 2561350"/>
                  <a:gd name="connsiteX14" fmla="*/ 0 w 2053522"/>
                  <a:gd name="connsiteY14" fmla="*/ 1657531 h 2561350"/>
                  <a:gd name="connsiteX15" fmla="*/ 257433 w 2053522"/>
                  <a:gd name="connsiteY15" fmla="*/ 1557347 h 2561350"/>
                  <a:gd name="connsiteX16" fmla="*/ 239483 w 2053522"/>
                  <a:gd name="connsiteY16" fmla="*/ 1049619 h 2561350"/>
                  <a:gd name="connsiteX17" fmla="*/ 29065 w 2053522"/>
                  <a:gd name="connsiteY17" fmla="*/ 1005469 h 2561350"/>
                  <a:gd name="connsiteX18" fmla="*/ 100444 w 2053522"/>
                  <a:gd name="connsiteY18" fmla="*/ 369408 h 2561350"/>
                  <a:gd name="connsiteX19" fmla="*/ 826873 w 2053522"/>
                  <a:gd name="connsiteY19" fmla="*/ 389002 h 2561350"/>
                  <a:gd name="connsiteX20" fmla="*/ 791969 w 2053522"/>
                  <a:gd name="connsiteY20" fmla="*/ 283670 h 2561350"/>
                  <a:gd name="connsiteX21" fmla="*/ 1027712 w 2053522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27712 w 2053521"/>
                  <a:gd name="connsiteY0" fmla="*/ 3 h 2561350"/>
                  <a:gd name="connsiteX1" fmla="*/ 1242025 w 2053521"/>
                  <a:gd name="connsiteY1" fmla="*/ 286050 h 2561350"/>
                  <a:gd name="connsiteX2" fmla="*/ 1219889 w 2053521"/>
                  <a:gd name="connsiteY2" fmla="*/ 389002 h 2561350"/>
                  <a:gd name="connsiteX3" fmla="*/ 1967384 w 2053521"/>
                  <a:gd name="connsiteY3" fmla="*/ 344364 h 2561350"/>
                  <a:gd name="connsiteX4" fmla="*/ 2049225 w 2053521"/>
                  <a:gd name="connsiteY4" fmla="*/ 926667 h 2561350"/>
                  <a:gd name="connsiteX5" fmla="*/ 1862717 w 2053521"/>
                  <a:gd name="connsiteY5" fmla="*/ 1056790 h 2561350"/>
                  <a:gd name="connsiteX6" fmla="*/ 1824721 w 2053521"/>
                  <a:gd name="connsiteY6" fmla="*/ 1531159 h 2561350"/>
                  <a:gd name="connsiteX7" fmla="*/ 2042416 w 2053521"/>
                  <a:gd name="connsiteY7" fmla="*/ 1619452 h 2561350"/>
                  <a:gd name="connsiteX8" fmla="*/ 1951283 w 2053521"/>
                  <a:gd name="connsiteY8" fmla="*/ 2180265 h 2561350"/>
                  <a:gd name="connsiteX9" fmla="*/ 1222152 w 2053521"/>
                  <a:gd name="connsiteY9" fmla="*/ 2167002 h 2561350"/>
                  <a:gd name="connsiteX10" fmla="*/ 1242025 w 2053521"/>
                  <a:gd name="connsiteY10" fmla="*/ 2275300 h 2561350"/>
                  <a:gd name="connsiteX11" fmla="*/ 791969 w 2053521"/>
                  <a:gd name="connsiteY11" fmla="*/ 2277680 h 2561350"/>
                  <a:gd name="connsiteX12" fmla="*/ 821902 w 2053521"/>
                  <a:gd name="connsiteY12" fmla="*/ 2167002 h 2561350"/>
                  <a:gd name="connsiteX13" fmla="*/ 128977 w 2053521"/>
                  <a:gd name="connsiteY13" fmla="*/ 2200159 h 2561350"/>
                  <a:gd name="connsiteX14" fmla="*/ 0 w 2053521"/>
                  <a:gd name="connsiteY14" fmla="*/ 1657531 h 2561350"/>
                  <a:gd name="connsiteX15" fmla="*/ 257433 w 2053521"/>
                  <a:gd name="connsiteY15" fmla="*/ 1557347 h 2561350"/>
                  <a:gd name="connsiteX16" fmla="*/ 239483 w 2053521"/>
                  <a:gd name="connsiteY16" fmla="*/ 1049619 h 2561350"/>
                  <a:gd name="connsiteX17" fmla="*/ 29065 w 2053521"/>
                  <a:gd name="connsiteY17" fmla="*/ 1005469 h 2561350"/>
                  <a:gd name="connsiteX18" fmla="*/ 100444 w 2053521"/>
                  <a:gd name="connsiteY18" fmla="*/ 369408 h 2561350"/>
                  <a:gd name="connsiteX19" fmla="*/ 826873 w 2053521"/>
                  <a:gd name="connsiteY19" fmla="*/ 389002 h 2561350"/>
                  <a:gd name="connsiteX20" fmla="*/ 791969 w 2053521"/>
                  <a:gd name="connsiteY20" fmla="*/ 283670 h 2561350"/>
                  <a:gd name="connsiteX21" fmla="*/ 1027712 w 2053521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4468 w 2040556"/>
                  <a:gd name="connsiteY15" fmla="*/ 155734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4468 w 2040556"/>
                  <a:gd name="connsiteY15" fmla="*/ 155734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4468 w 2040556"/>
                  <a:gd name="connsiteY15" fmla="*/ 155734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4468 w 2040556"/>
                  <a:gd name="connsiteY15" fmla="*/ 155734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61667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53025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29451 w 2040556"/>
                  <a:gd name="connsiteY7" fmla="*/ 1619452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56790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  <a:gd name="connsiteX0" fmla="*/ 1014747 w 2040556"/>
                  <a:gd name="connsiteY0" fmla="*/ 3 h 2561350"/>
                  <a:gd name="connsiteX1" fmla="*/ 1229060 w 2040556"/>
                  <a:gd name="connsiteY1" fmla="*/ 286050 h 2561350"/>
                  <a:gd name="connsiteX2" fmla="*/ 1206924 w 2040556"/>
                  <a:gd name="connsiteY2" fmla="*/ 389002 h 2561350"/>
                  <a:gd name="connsiteX3" fmla="*/ 1954419 w 2040556"/>
                  <a:gd name="connsiteY3" fmla="*/ 344364 h 2561350"/>
                  <a:gd name="connsiteX4" fmla="*/ 2036260 w 2040556"/>
                  <a:gd name="connsiteY4" fmla="*/ 926667 h 2561350"/>
                  <a:gd name="connsiteX5" fmla="*/ 1849752 w 2040556"/>
                  <a:gd name="connsiteY5" fmla="*/ 1060129 h 2561350"/>
                  <a:gd name="connsiteX6" fmla="*/ 1811756 w 2040556"/>
                  <a:gd name="connsiteY6" fmla="*/ 1531159 h 2561350"/>
                  <a:gd name="connsiteX7" fmla="*/ 2036129 w 2040556"/>
                  <a:gd name="connsiteY7" fmla="*/ 1616113 h 2561350"/>
                  <a:gd name="connsiteX8" fmla="*/ 1938318 w 2040556"/>
                  <a:gd name="connsiteY8" fmla="*/ 2180265 h 2561350"/>
                  <a:gd name="connsiteX9" fmla="*/ 1209187 w 2040556"/>
                  <a:gd name="connsiteY9" fmla="*/ 2167002 h 2561350"/>
                  <a:gd name="connsiteX10" fmla="*/ 1229060 w 2040556"/>
                  <a:gd name="connsiteY10" fmla="*/ 2275300 h 2561350"/>
                  <a:gd name="connsiteX11" fmla="*/ 779004 w 2040556"/>
                  <a:gd name="connsiteY11" fmla="*/ 2277680 h 2561350"/>
                  <a:gd name="connsiteX12" fmla="*/ 808937 w 2040556"/>
                  <a:gd name="connsiteY12" fmla="*/ 2167002 h 2561350"/>
                  <a:gd name="connsiteX13" fmla="*/ 116012 w 2040556"/>
                  <a:gd name="connsiteY13" fmla="*/ 2200159 h 2561350"/>
                  <a:gd name="connsiteX14" fmla="*/ 0 w 2040556"/>
                  <a:gd name="connsiteY14" fmla="*/ 1657530 h 2561350"/>
                  <a:gd name="connsiteX15" fmla="*/ 248790 w 2040556"/>
                  <a:gd name="connsiteY15" fmla="*/ 1539671 h 2561350"/>
                  <a:gd name="connsiteX16" fmla="*/ 226518 w 2040556"/>
                  <a:gd name="connsiteY16" fmla="*/ 1049619 h 2561350"/>
                  <a:gd name="connsiteX17" fmla="*/ 16100 w 2040556"/>
                  <a:gd name="connsiteY17" fmla="*/ 1005469 h 2561350"/>
                  <a:gd name="connsiteX18" fmla="*/ 87479 w 2040556"/>
                  <a:gd name="connsiteY18" fmla="*/ 369408 h 2561350"/>
                  <a:gd name="connsiteX19" fmla="*/ 813908 w 2040556"/>
                  <a:gd name="connsiteY19" fmla="*/ 389002 h 2561350"/>
                  <a:gd name="connsiteX20" fmla="*/ 779004 w 2040556"/>
                  <a:gd name="connsiteY20" fmla="*/ 283670 h 2561350"/>
                  <a:gd name="connsiteX21" fmla="*/ 1014747 w 2040556"/>
                  <a:gd name="connsiteY21" fmla="*/ 3 h 256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40556" h="2561350">
                    <a:moveTo>
                      <a:pt x="1014747" y="3"/>
                    </a:moveTo>
                    <a:cubicBezTo>
                      <a:pt x="1183816" y="-691"/>
                      <a:pt x="1351799" y="120921"/>
                      <a:pt x="1229060" y="286050"/>
                    </a:cubicBezTo>
                    <a:cubicBezTo>
                      <a:pt x="1212950" y="315682"/>
                      <a:pt x="1201168" y="348101"/>
                      <a:pt x="1206924" y="389002"/>
                    </a:cubicBezTo>
                    <a:cubicBezTo>
                      <a:pt x="1211992" y="528261"/>
                      <a:pt x="1716654" y="452477"/>
                      <a:pt x="1954419" y="344364"/>
                    </a:cubicBezTo>
                    <a:cubicBezTo>
                      <a:pt x="1970498" y="474789"/>
                      <a:pt x="2061145" y="783619"/>
                      <a:pt x="2036260" y="926667"/>
                    </a:cubicBezTo>
                    <a:cubicBezTo>
                      <a:pt x="2027166" y="1024060"/>
                      <a:pt x="1970476" y="1153289"/>
                      <a:pt x="1849752" y="1060129"/>
                    </a:cubicBezTo>
                    <a:cubicBezTo>
                      <a:pt x="1475468" y="853624"/>
                      <a:pt x="1487545" y="1649324"/>
                      <a:pt x="1811756" y="1531159"/>
                    </a:cubicBezTo>
                    <a:cubicBezTo>
                      <a:pt x="1923754" y="1469515"/>
                      <a:pt x="1987209" y="1400411"/>
                      <a:pt x="2036129" y="1616113"/>
                    </a:cubicBezTo>
                    <a:cubicBezTo>
                      <a:pt x="2051136" y="1730790"/>
                      <a:pt x="1956393" y="2051666"/>
                      <a:pt x="1938318" y="2180265"/>
                    </a:cubicBezTo>
                    <a:cubicBezTo>
                      <a:pt x="1741694" y="2153739"/>
                      <a:pt x="1359392" y="2007849"/>
                      <a:pt x="1209187" y="2167002"/>
                    </a:cubicBezTo>
                    <a:cubicBezTo>
                      <a:pt x="1195706" y="2193452"/>
                      <a:pt x="1198508" y="2230274"/>
                      <a:pt x="1229060" y="2275300"/>
                    </a:cubicBezTo>
                    <a:cubicBezTo>
                      <a:pt x="1469566" y="2660267"/>
                      <a:pt x="567071" y="2652331"/>
                      <a:pt x="779004" y="2277680"/>
                    </a:cubicBezTo>
                    <a:cubicBezTo>
                      <a:pt x="817979" y="2223379"/>
                      <a:pt x="825787" y="2190096"/>
                      <a:pt x="808937" y="2167002"/>
                    </a:cubicBezTo>
                    <a:cubicBezTo>
                      <a:pt x="706169" y="2021111"/>
                      <a:pt x="364670" y="2147108"/>
                      <a:pt x="116012" y="2200159"/>
                    </a:cubicBezTo>
                    <a:cubicBezTo>
                      <a:pt x="57942" y="2073996"/>
                      <a:pt x="976" y="1794778"/>
                      <a:pt x="0" y="1657530"/>
                    </a:cubicBezTo>
                    <a:cubicBezTo>
                      <a:pt x="23569" y="1399547"/>
                      <a:pt x="142648" y="1475748"/>
                      <a:pt x="248790" y="1539671"/>
                    </a:cubicBezTo>
                    <a:cubicBezTo>
                      <a:pt x="563771" y="1555589"/>
                      <a:pt x="485163" y="925406"/>
                      <a:pt x="226518" y="1049619"/>
                    </a:cubicBezTo>
                    <a:cubicBezTo>
                      <a:pt x="150003" y="1086365"/>
                      <a:pt x="56561" y="1164379"/>
                      <a:pt x="16100" y="1005469"/>
                    </a:cubicBezTo>
                    <a:cubicBezTo>
                      <a:pt x="-32993" y="864734"/>
                      <a:pt x="47286" y="478570"/>
                      <a:pt x="87479" y="369408"/>
                    </a:cubicBezTo>
                    <a:cubicBezTo>
                      <a:pt x="483685" y="502036"/>
                      <a:pt x="775797" y="488473"/>
                      <a:pt x="813908" y="389002"/>
                    </a:cubicBezTo>
                    <a:cubicBezTo>
                      <a:pt x="824229" y="365427"/>
                      <a:pt x="814657" y="333342"/>
                      <a:pt x="779004" y="283670"/>
                    </a:cubicBezTo>
                    <a:cubicBezTo>
                      <a:pt x="673038" y="96344"/>
                      <a:pt x="845678" y="698"/>
                      <a:pt x="1014747" y="3"/>
                    </a:cubicBezTo>
                    <a:close/>
                  </a:path>
                </a:pathLst>
              </a:custGeom>
              <a:gradFill flip="none" rotWithShape="1">
                <a:gsLst>
                  <a:gs pos="100000">
                    <a:schemeClr val="accent2">
                      <a:lumMod val="75000"/>
                    </a:schemeClr>
                  </a:gs>
                  <a:gs pos="0">
                    <a:schemeClr val="accent2"/>
                  </a:gs>
                </a:gsLst>
                <a:lin ang="0" scaled="0"/>
                <a:tileRect/>
              </a:gradFill>
              <a:ln>
                <a:noFill/>
              </a:ln>
              <a:effectLst/>
              <a:sp3d prstMaterial="dkEdge">
                <a:bevelT w="508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3" name="Rectangle 5"/>
              <p:cNvSpPr/>
              <p:nvPr/>
            </p:nvSpPr>
            <p:spPr>
              <a:xfrm flipV="1">
                <a:off x="6213670" y="3226986"/>
                <a:ext cx="1448109" cy="1792218"/>
              </a:xfrm>
              <a:custGeom>
                <a:avLst/>
                <a:gdLst>
                  <a:gd name="connsiteX0" fmla="*/ 872209 w 1795780"/>
                  <a:gd name="connsiteY0" fmla="*/ 3 h 2561350"/>
                  <a:gd name="connsiteX1" fmla="*/ 1086522 w 1795780"/>
                  <a:gd name="connsiteY1" fmla="*/ 286050 h 2561350"/>
                  <a:gd name="connsiteX2" fmla="*/ 1064386 w 1795780"/>
                  <a:gd name="connsiteY2" fmla="*/ 389002 h 2561350"/>
                  <a:gd name="connsiteX3" fmla="*/ 1795780 w 1795780"/>
                  <a:gd name="connsiteY3" fmla="*/ 389002 h 2561350"/>
                  <a:gd name="connsiteX4" fmla="*/ 1795780 w 1795780"/>
                  <a:gd name="connsiteY4" fmla="*/ 1063389 h 2561350"/>
                  <a:gd name="connsiteX5" fmla="*/ 1706462 w 1795780"/>
                  <a:gd name="connsiteY5" fmla="*/ 1037347 h 2561350"/>
                  <a:gd name="connsiteX6" fmla="*/ 1704082 w 1795780"/>
                  <a:gd name="connsiteY6" fmla="*/ 1487403 h 2561350"/>
                  <a:gd name="connsiteX7" fmla="*/ 1795780 w 1795780"/>
                  <a:gd name="connsiteY7" fmla="*/ 1449629 h 2561350"/>
                  <a:gd name="connsiteX8" fmla="*/ 1795780 w 1795780"/>
                  <a:gd name="connsiteY8" fmla="*/ 2167002 h 2561350"/>
                  <a:gd name="connsiteX9" fmla="*/ 1066649 w 1795780"/>
                  <a:gd name="connsiteY9" fmla="*/ 2167002 h 2561350"/>
                  <a:gd name="connsiteX10" fmla="*/ 1086522 w 1795780"/>
                  <a:gd name="connsiteY10" fmla="*/ 2275300 h 2561350"/>
                  <a:gd name="connsiteX11" fmla="*/ 636466 w 1795780"/>
                  <a:gd name="connsiteY11" fmla="*/ 2277680 h 2561350"/>
                  <a:gd name="connsiteX12" fmla="*/ 666399 w 1795780"/>
                  <a:gd name="connsiteY12" fmla="*/ 2167002 h 2561350"/>
                  <a:gd name="connsiteX13" fmla="*/ 0 w 1795780"/>
                  <a:gd name="connsiteY13" fmla="*/ 2167002 h 2561350"/>
                  <a:gd name="connsiteX14" fmla="*/ 0 w 1795780"/>
                  <a:gd name="connsiteY14" fmla="*/ 1458174 h 2561350"/>
                  <a:gd name="connsiteX15" fmla="*/ 94999 w 1795780"/>
                  <a:gd name="connsiteY15" fmla="*/ 1495354 h 2561350"/>
                  <a:gd name="connsiteX16" fmla="*/ 92619 w 1795780"/>
                  <a:gd name="connsiteY16" fmla="*/ 1045298 h 2561350"/>
                  <a:gd name="connsiteX17" fmla="*/ 0 w 1795780"/>
                  <a:gd name="connsiteY17" fmla="*/ 1071146 h 2561350"/>
                  <a:gd name="connsiteX18" fmla="*/ 0 w 1795780"/>
                  <a:gd name="connsiteY18" fmla="*/ 389002 h 2561350"/>
                  <a:gd name="connsiteX19" fmla="*/ 671370 w 1795780"/>
                  <a:gd name="connsiteY19" fmla="*/ 389002 h 2561350"/>
                  <a:gd name="connsiteX20" fmla="*/ 636466 w 1795780"/>
                  <a:gd name="connsiteY20" fmla="*/ 283670 h 2561350"/>
                  <a:gd name="connsiteX21" fmla="*/ 872209 w 1795780"/>
                  <a:gd name="connsiteY21" fmla="*/ 3 h 2561350"/>
                  <a:gd name="connsiteX0" fmla="*/ 872209 w 1795780"/>
                  <a:gd name="connsiteY0" fmla="*/ 3 h 2561350"/>
                  <a:gd name="connsiteX1" fmla="*/ 1086522 w 1795780"/>
                  <a:gd name="connsiteY1" fmla="*/ 286050 h 2561350"/>
                  <a:gd name="connsiteX2" fmla="*/ 1064386 w 1795780"/>
                  <a:gd name="connsiteY2" fmla="*/ 389002 h 2561350"/>
                  <a:gd name="connsiteX3" fmla="*/ 1795780 w 1795780"/>
                  <a:gd name="connsiteY3" fmla="*/ 389002 h 2561350"/>
                  <a:gd name="connsiteX4" fmla="*/ 1795780 w 1795780"/>
                  <a:gd name="connsiteY4" fmla="*/ 1063389 h 2561350"/>
                  <a:gd name="connsiteX5" fmla="*/ 1706462 w 1795780"/>
                  <a:gd name="connsiteY5" fmla="*/ 1037347 h 2561350"/>
                  <a:gd name="connsiteX6" fmla="*/ 1704082 w 1795780"/>
                  <a:gd name="connsiteY6" fmla="*/ 1487403 h 2561350"/>
                  <a:gd name="connsiteX7" fmla="*/ 1795780 w 1795780"/>
                  <a:gd name="connsiteY7" fmla="*/ 1449629 h 2561350"/>
                  <a:gd name="connsiteX8" fmla="*/ 1795780 w 1795780"/>
                  <a:gd name="connsiteY8" fmla="*/ 2167002 h 2561350"/>
                  <a:gd name="connsiteX9" fmla="*/ 1066649 w 1795780"/>
                  <a:gd name="connsiteY9" fmla="*/ 2167002 h 2561350"/>
                  <a:gd name="connsiteX10" fmla="*/ 1086522 w 1795780"/>
                  <a:gd name="connsiteY10" fmla="*/ 2275300 h 2561350"/>
                  <a:gd name="connsiteX11" fmla="*/ 636466 w 1795780"/>
                  <a:gd name="connsiteY11" fmla="*/ 2277680 h 2561350"/>
                  <a:gd name="connsiteX12" fmla="*/ 666399 w 1795780"/>
                  <a:gd name="connsiteY12" fmla="*/ 2167002 h 2561350"/>
                  <a:gd name="connsiteX13" fmla="*/ 0 w 1795780"/>
                  <a:gd name="connsiteY13" fmla="*/ 2167002 h 2561350"/>
                  <a:gd name="connsiteX14" fmla="*/ 0 w 1795780"/>
                  <a:gd name="connsiteY14" fmla="*/ 1458174 h 2561350"/>
                  <a:gd name="connsiteX15" fmla="*/ 94999 w 1795780"/>
                  <a:gd name="connsiteY15" fmla="*/ 1495354 h 2561350"/>
                  <a:gd name="connsiteX16" fmla="*/ 92619 w 1795780"/>
                  <a:gd name="connsiteY16" fmla="*/ 1045298 h 2561350"/>
                  <a:gd name="connsiteX17" fmla="*/ 0 w 1795780"/>
                  <a:gd name="connsiteY17" fmla="*/ 1071146 h 2561350"/>
                  <a:gd name="connsiteX18" fmla="*/ 0 w 1795780"/>
                  <a:gd name="connsiteY18" fmla="*/ 389002 h 2561350"/>
                  <a:gd name="connsiteX19" fmla="*/ 671370 w 1795780"/>
                  <a:gd name="connsiteY19" fmla="*/ 389002 h 2561350"/>
                  <a:gd name="connsiteX20" fmla="*/ 636466 w 1795780"/>
                  <a:gd name="connsiteY20" fmla="*/ 283670 h 2561350"/>
                  <a:gd name="connsiteX21" fmla="*/ 872209 w 179578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42200"/>
                  <a:gd name="connsiteY0" fmla="*/ 3 h 2561350"/>
                  <a:gd name="connsiteX1" fmla="*/ 1132942 w 1842200"/>
                  <a:gd name="connsiteY1" fmla="*/ 286050 h 2561350"/>
                  <a:gd name="connsiteX2" fmla="*/ 1110806 w 1842200"/>
                  <a:gd name="connsiteY2" fmla="*/ 389002 h 2561350"/>
                  <a:gd name="connsiteX3" fmla="*/ 1842200 w 1842200"/>
                  <a:gd name="connsiteY3" fmla="*/ 389002 h 2561350"/>
                  <a:gd name="connsiteX4" fmla="*/ 1842200 w 1842200"/>
                  <a:gd name="connsiteY4" fmla="*/ 1063389 h 2561350"/>
                  <a:gd name="connsiteX5" fmla="*/ 1752882 w 1842200"/>
                  <a:gd name="connsiteY5" fmla="*/ 1037347 h 2561350"/>
                  <a:gd name="connsiteX6" fmla="*/ 1750502 w 1842200"/>
                  <a:gd name="connsiteY6" fmla="*/ 1487403 h 2561350"/>
                  <a:gd name="connsiteX7" fmla="*/ 1842200 w 1842200"/>
                  <a:gd name="connsiteY7" fmla="*/ 1449629 h 2561350"/>
                  <a:gd name="connsiteX8" fmla="*/ 1842200 w 1842200"/>
                  <a:gd name="connsiteY8" fmla="*/ 2167002 h 2561350"/>
                  <a:gd name="connsiteX9" fmla="*/ 1113069 w 1842200"/>
                  <a:gd name="connsiteY9" fmla="*/ 2167002 h 2561350"/>
                  <a:gd name="connsiteX10" fmla="*/ 1132942 w 1842200"/>
                  <a:gd name="connsiteY10" fmla="*/ 2275300 h 2561350"/>
                  <a:gd name="connsiteX11" fmla="*/ 682886 w 1842200"/>
                  <a:gd name="connsiteY11" fmla="*/ 2277680 h 2561350"/>
                  <a:gd name="connsiteX12" fmla="*/ 712819 w 1842200"/>
                  <a:gd name="connsiteY12" fmla="*/ 2167002 h 2561350"/>
                  <a:gd name="connsiteX13" fmla="*/ 46420 w 1842200"/>
                  <a:gd name="connsiteY13" fmla="*/ 2167002 h 2561350"/>
                  <a:gd name="connsiteX14" fmla="*/ 46420 w 1842200"/>
                  <a:gd name="connsiteY14" fmla="*/ 1458174 h 2561350"/>
                  <a:gd name="connsiteX15" fmla="*/ 141419 w 1842200"/>
                  <a:gd name="connsiteY15" fmla="*/ 1495354 h 2561350"/>
                  <a:gd name="connsiteX16" fmla="*/ 139039 w 1842200"/>
                  <a:gd name="connsiteY16" fmla="*/ 1045298 h 2561350"/>
                  <a:gd name="connsiteX17" fmla="*/ 46420 w 1842200"/>
                  <a:gd name="connsiteY17" fmla="*/ 1071146 h 2561350"/>
                  <a:gd name="connsiteX18" fmla="*/ 0 w 1842200"/>
                  <a:gd name="connsiteY18" fmla="*/ 382371 h 2561350"/>
                  <a:gd name="connsiteX19" fmla="*/ 717790 w 1842200"/>
                  <a:gd name="connsiteY19" fmla="*/ 389002 h 2561350"/>
                  <a:gd name="connsiteX20" fmla="*/ 682886 w 1842200"/>
                  <a:gd name="connsiteY20" fmla="*/ 283670 h 2561350"/>
                  <a:gd name="connsiteX21" fmla="*/ 918629 w 1842200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862094"/>
                  <a:gd name="connsiteY0" fmla="*/ 3 h 2561350"/>
                  <a:gd name="connsiteX1" fmla="*/ 1132942 w 1862094"/>
                  <a:gd name="connsiteY1" fmla="*/ 286050 h 2561350"/>
                  <a:gd name="connsiteX2" fmla="*/ 1110806 w 1862094"/>
                  <a:gd name="connsiteY2" fmla="*/ 389002 h 2561350"/>
                  <a:gd name="connsiteX3" fmla="*/ 1862094 w 1862094"/>
                  <a:gd name="connsiteY3" fmla="*/ 369108 h 2561350"/>
                  <a:gd name="connsiteX4" fmla="*/ 1842200 w 1862094"/>
                  <a:gd name="connsiteY4" fmla="*/ 1063389 h 2561350"/>
                  <a:gd name="connsiteX5" fmla="*/ 1752882 w 1862094"/>
                  <a:gd name="connsiteY5" fmla="*/ 1037347 h 2561350"/>
                  <a:gd name="connsiteX6" fmla="*/ 1750502 w 1862094"/>
                  <a:gd name="connsiteY6" fmla="*/ 1487403 h 2561350"/>
                  <a:gd name="connsiteX7" fmla="*/ 1842200 w 1862094"/>
                  <a:gd name="connsiteY7" fmla="*/ 1449629 h 2561350"/>
                  <a:gd name="connsiteX8" fmla="*/ 1842200 w 1862094"/>
                  <a:gd name="connsiteY8" fmla="*/ 2167002 h 2561350"/>
                  <a:gd name="connsiteX9" fmla="*/ 1113069 w 1862094"/>
                  <a:gd name="connsiteY9" fmla="*/ 2167002 h 2561350"/>
                  <a:gd name="connsiteX10" fmla="*/ 1132942 w 1862094"/>
                  <a:gd name="connsiteY10" fmla="*/ 2275300 h 2561350"/>
                  <a:gd name="connsiteX11" fmla="*/ 682886 w 1862094"/>
                  <a:gd name="connsiteY11" fmla="*/ 2277680 h 2561350"/>
                  <a:gd name="connsiteX12" fmla="*/ 712819 w 1862094"/>
                  <a:gd name="connsiteY12" fmla="*/ 2167002 h 2561350"/>
                  <a:gd name="connsiteX13" fmla="*/ 46420 w 1862094"/>
                  <a:gd name="connsiteY13" fmla="*/ 2167002 h 2561350"/>
                  <a:gd name="connsiteX14" fmla="*/ 46420 w 1862094"/>
                  <a:gd name="connsiteY14" fmla="*/ 1458174 h 2561350"/>
                  <a:gd name="connsiteX15" fmla="*/ 141419 w 1862094"/>
                  <a:gd name="connsiteY15" fmla="*/ 1495354 h 2561350"/>
                  <a:gd name="connsiteX16" fmla="*/ 139039 w 1862094"/>
                  <a:gd name="connsiteY16" fmla="*/ 1045298 h 2561350"/>
                  <a:gd name="connsiteX17" fmla="*/ 46420 w 1862094"/>
                  <a:gd name="connsiteY17" fmla="*/ 1071146 h 2561350"/>
                  <a:gd name="connsiteX18" fmla="*/ 0 w 1862094"/>
                  <a:gd name="connsiteY18" fmla="*/ 382371 h 2561350"/>
                  <a:gd name="connsiteX19" fmla="*/ 717790 w 1862094"/>
                  <a:gd name="connsiteY19" fmla="*/ 389002 h 2561350"/>
                  <a:gd name="connsiteX20" fmla="*/ 682886 w 1862094"/>
                  <a:gd name="connsiteY20" fmla="*/ 283670 h 2561350"/>
                  <a:gd name="connsiteX21" fmla="*/ 918629 w 1862094"/>
                  <a:gd name="connsiteY21" fmla="*/ 3 h 2561350"/>
                  <a:gd name="connsiteX0" fmla="*/ 918629 w 1949187"/>
                  <a:gd name="connsiteY0" fmla="*/ 3 h 2561350"/>
                  <a:gd name="connsiteX1" fmla="*/ 1132942 w 1949187"/>
                  <a:gd name="connsiteY1" fmla="*/ 286050 h 2561350"/>
                  <a:gd name="connsiteX2" fmla="*/ 1110806 w 1949187"/>
                  <a:gd name="connsiteY2" fmla="*/ 389002 h 2561350"/>
                  <a:gd name="connsiteX3" fmla="*/ 1862094 w 1949187"/>
                  <a:gd name="connsiteY3" fmla="*/ 369108 h 2561350"/>
                  <a:gd name="connsiteX4" fmla="*/ 1842200 w 1949187"/>
                  <a:gd name="connsiteY4" fmla="*/ 1063389 h 2561350"/>
                  <a:gd name="connsiteX5" fmla="*/ 1752882 w 1949187"/>
                  <a:gd name="connsiteY5" fmla="*/ 1037347 h 2561350"/>
                  <a:gd name="connsiteX6" fmla="*/ 1750502 w 1949187"/>
                  <a:gd name="connsiteY6" fmla="*/ 1487403 h 2561350"/>
                  <a:gd name="connsiteX7" fmla="*/ 1842200 w 1949187"/>
                  <a:gd name="connsiteY7" fmla="*/ 1449629 h 2561350"/>
                  <a:gd name="connsiteX8" fmla="*/ 1842200 w 1949187"/>
                  <a:gd name="connsiteY8" fmla="*/ 2167002 h 2561350"/>
                  <a:gd name="connsiteX9" fmla="*/ 1113069 w 1949187"/>
                  <a:gd name="connsiteY9" fmla="*/ 2167002 h 2561350"/>
                  <a:gd name="connsiteX10" fmla="*/ 1132942 w 1949187"/>
                  <a:gd name="connsiteY10" fmla="*/ 2275300 h 2561350"/>
                  <a:gd name="connsiteX11" fmla="*/ 682886 w 1949187"/>
                  <a:gd name="connsiteY11" fmla="*/ 2277680 h 2561350"/>
                  <a:gd name="connsiteX12" fmla="*/ 712819 w 1949187"/>
                  <a:gd name="connsiteY12" fmla="*/ 2167002 h 2561350"/>
                  <a:gd name="connsiteX13" fmla="*/ 46420 w 1949187"/>
                  <a:gd name="connsiteY13" fmla="*/ 2167002 h 2561350"/>
                  <a:gd name="connsiteX14" fmla="*/ 46420 w 1949187"/>
                  <a:gd name="connsiteY14" fmla="*/ 1458174 h 2561350"/>
                  <a:gd name="connsiteX15" fmla="*/ 141419 w 1949187"/>
                  <a:gd name="connsiteY15" fmla="*/ 1495354 h 2561350"/>
                  <a:gd name="connsiteX16" fmla="*/ 139039 w 1949187"/>
                  <a:gd name="connsiteY16" fmla="*/ 1045298 h 2561350"/>
                  <a:gd name="connsiteX17" fmla="*/ 46420 w 1949187"/>
                  <a:gd name="connsiteY17" fmla="*/ 1071146 h 2561350"/>
                  <a:gd name="connsiteX18" fmla="*/ 0 w 1949187"/>
                  <a:gd name="connsiteY18" fmla="*/ 382371 h 2561350"/>
                  <a:gd name="connsiteX19" fmla="*/ 717790 w 1949187"/>
                  <a:gd name="connsiteY19" fmla="*/ 389002 h 2561350"/>
                  <a:gd name="connsiteX20" fmla="*/ 682886 w 1949187"/>
                  <a:gd name="connsiteY20" fmla="*/ 283670 h 2561350"/>
                  <a:gd name="connsiteX21" fmla="*/ 918629 w 1949187"/>
                  <a:gd name="connsiteY21" fmla="*/ 3 h 2561350"/>
                  <a:gd name="connsiteX0" fmla="*/ 918629 w 1966660"/>
                  <a:gd name="connsiteY0" fmla="*/ 3 h 2561350"/>
                  <a:gd name="connsiteX1" fmla="*/ 1132942 w 1966660"/>
                  <a:gd name="connsiteY1" fmla="*/ 286050 h 2561350"/>
                  <a:gd name="connsiteX2" fmla="*/ 1110806 w 1966660"/>
                  <a:gd name="connsiteY2" fmla="*/ 389002 h 2561350"/>
                  <a:gd name="connsiteX3" fmla="*/ 1862094 w 1966660"/>
                  <a:gd name="connsiteY3" fmla="*/ 369108 h 2561350"/>
                  <a:gd name="connsiteX4" fmla="*/ 1842200 w 1966660"/>
                  <a:gd name="connsiteY4" fmla="*/ 1063389 h 2561350"/>
                  <a:gd name="connsiteX5" fmla="*/ 1752882 w 1966660"/>
                  <a:gd name="connsiteY5" fmla="*/ 1037347 h 2561350"/>
                  <a:gd name="connsiteX6" fmla="*/ 1750502 w 1966660"/>
                  <a:gd name="connsiteY6" fmla="*/ 1487403 h 2561350"/>
                  <a:gd name="connsiteX7" fmla="*/ 1842200 w 1966660"/>
                  <a:gd name="connsiteY7" fmla="*/ 1449629 h 2561350"/>
                  <a:gd name="connsiteX8" fmla="*/ 1842200 w 1966660"/>
                  <a:gd name="connsiteY8" fmla="*/ 2167002 h 2561350"/>
                  <a:gd name="connsiteX9" fmla="*/ 1113069 w 1966660"/>
                  <a:gd name="connsiteY9" fmla="*/ 2167002 h 2561350"/>
                  <a:gd name="connsiteX10" fmla="*/ 1132942 w 1966660"/>
                  <a:gd name="connsiteY10" fmla="*/ 2275300 h 2561350"/>
                  <a:gd name="connsiteX11" fmla="*/ 682886 w 1966660"/>
                  <a:gd name="connsiteY11" fmla="*/ 2277680 h 2561350"/>
                  <a:gd name="connsiteX12" fmla="*/ 712819 w 1966660"/>
                  <a:gd name="connsiteY12" fmla="*/ 2167002 h 2561350"/>
                  <a:gd name="connsiteX13" fmla="*/ 46420 w 1966660"/>
                  <a:gd name="connsiteY13" fmla="*/ 2167002 h 2561350"/>
                  <a:gd name="connsiteX14" fmla="*/ 46420 w 1966660"/>
                  <a:gd name="connsiteY14" fmla="*/ 1458174 h 2561350"/>
                  <a:gd name="connsiteX15" fmla="*/ 141419 w 1966660"/>
                  <a:gd name="connsiteY15" fmla="*/ 1495354 h 2561350"/>
                  <a:gd name="connsiteX16" fmla="*/ 139039 w 1966660"/>
                  <a:gd name="connsiteY16" fmla="*/ 1045298 h 2561350"/>
                  <a:gd name="connsiteX17" fmla="*/ 46420 w 1966660"/>
                  <a:gd name="connsiteY17" fmla="*/ 1071146 h 2561350"/>
                  <a:gd name="connsiteX18" fmla="*/ 0 w 1966660"/>
                  <a:gd name="connsiteY18" fmla="*/ 382371 h 2561350"/>
                  <a:gd name="connsiteX19" fmla="*/ 717790 w 1966660"/>
                  <a:gd name="connsiteY19" fmla="*/ 389002 h 2561350"/>
                  <a:gd name="connsiteX20" fmla="*/ 682886 w 1966660"/>
                  <a:gd name="connsiteY20" fmla="*/ 283670 h 2561350"/>
                  <a:gd name="connsiteX21" fmla="*/ 918629 w 1966660"/>
                  <a:gd name="connsiteY21" fmla="*/ 3 h 2561350"/>
                  <a:gd name="connsiteX0" fmla="*/ 1023861 w 2071892"/>
                  <a:gd name="connsiteY0" fmla="*/ 3 h 2561350"/>
                  <a:gd name="connsiteX1" fmla="*/ 1238174 w 2071892"/>
                  <a:gd name="connsiteY1" fmla="*/ 286050 h 2561350"/>
                  <a:gd name="connsiteX2" fmla="*/ 1216038 w 2071892"/>
                  <a:gd name="connsiteY2" fmla="*/ 389002 h 2561350"/>
                  <a:gd name="connsiteX3" fmla="*/ 1967326 w 2071892"/>
                  <a:gd name="connsiteY3" fmla="*/ 369108 h 2561350"/>
                  <a:gd name="connsiteX4" fmla="*/ 1947432 w 2071892"/>
                  <a:gd name="connsiteY4" fmla="*/ 1063389 h 2561350"/>
                  <a:gd name="connsiteX5" fmla="*/ 1858114 w 2071892"/>
                  <a:gd name="connsiteY5" fmla="*/ 1037347 h 2561350"/>
                  <a:gd name="connsiteX6" fmla="*/ 1855734 w 2071892"/>
                  <a:gd name="connsiteY6" fmla="*/ 1487403 h 2561350"/>
                  <a:gd name="connsiteX7" fmla="*/ 1947432 w 2071892"/>
                  <a:gd name="connsiteY7" fmla="*/ 1449629 h 2561350"/>
                  <a:gd name="connsiteX8" fmla="*/ 1947432 w 2071892"/>
                  <a:gd name="connsiteY8" fmla="*/ 2167002 h 2561350"/>
                  <a:gd name="connsiteX9" fmla="*/ 1218301 w 2071892"/>
                  <a:gd name="connsiteY9" fmla="*/ 2167002 h 2561350"/>
                  <a:gd name="connsiteX10" fmla="*/ 1238174 w 2071892"/>
                  <a:gd name="connsiteY10" fmla="*/ 2275300 h 2561350"/>
                  <a:gd name="connsiteX11" fmla="*/ 788118 w 2071892"/>
                  <a:gd name="connsiteY11" fmla="*/ 2277680 h 2561350"/>
                  <a:gd name="connsiteX12" fmla="*/ 818051 w 2071892"/>
                  <a:gd name="connsiteY12" fmla="*/ 2167002 h 2561350"/>
                  <a:gd name="connsiteX13" fmla="*/ 151652 w 2071892"/>
                  <a:gd name="connsiteY13" fmla="*/ 2167002 h 2561350"/>
                  <a:gd name="connsiteX14" fmla="*/ 151652 w 2071892"/>
                  <a:gd name="connsiteY14" fmla="*/ 1458174 h 2561350"/>
                  <a:gd name="connsiteX15" fmla="*/ 246651 w 2071892"/>
                  <a:gd name="connsiteY15" fmla="*/ 1495354 h 2561350"/>
                  <a:gd name="connsiteX16" fmla="*/ 244271 w 2071892"/>
                  <a:gd name="connsiteY16" fmla="*/ 1045298 h 2561350"/>
                  <a:gd name="connsiteX17" fmla="*/ 151652 w 2071892"/>
                  <a:gd name="connsiteY17" fmla="*/ 1071146 h 2561350"/>
                  <a:gd name="connsiteX18" fmla="*/ 105232 w 2071892"/>
                  <a:gd name="connsiteY18" fmla="*/ 382371 h 2561350"/>
                  <a:gd name="connsiteX19" fmla="*/ 823022 w 2071892"/>
                  <a:gd name="connsiteY19" fmla="*/ 389002 h 2561350"/>
                  <a:gd name="connsiteX20" fmla="*/ 788118 w 2071892"/>
                  <a:gd name="connsiteY20" fmla="*/ 283670 h 2561350"/>
                  <a:gd name="connsiteX21" fmla="*/ 1023861 w 2071892"/>
                  <a:gd name="connsiteY21" fmla="*/ 3 h 2561350"/>
                  <a:gd name="connsiteX0" fmla="*/ 1039756 w 2087787"/>
                  <a:gd name="connsiteY0" fmla="*/ 3 h 2561350"/>
                  <a:gd name="connsiteX1" fmla="*/ 1254069 w 2087787"/>
                  <a:gd name="connsiteY1" fmla="*/ 286050 h 2561350"/>
                  <a:gd name="connsiteX2" fmla="*/ 1231933 w 2087787"/>
                  <a:gd name="connsiteY2" fmla="*/ 389002 h 2561350"/>
                  <a:gd name="connsiteX3" fmla="*/ 1983221 w 2087787"/>
                  <a:gd name="connsiteY3" fmla="*/ 369108 h 2561350"/>
                  <a:gd name="connsiteX4" fmla="*/ 1963327 w 2087787"/>
                  <a:gd name="connsiteY4" fmla="*/ 1063389 h 2561350"/>
                  <a:gd name="connsiteX5" fmla="*/ 1874009 w 2087787"/>
                  <a:gd name="connsiteY5" fmla="*/ 1037347 h 2561350"/>
                  <a:gd name="connsiteX6" fmla="*/ 1871629 w 2087787"/>
                  <a:gd name="connsiteY6" fmla="*/ 1487403 h 2561350"/>
                  <a:gd name="connsiteX7" fmla="*/ 1963327 w 2087787"/>
                  <a:gd name="connsiteY7" fmla="*/ 1449629 h 2561350"/>
                  <a:gd name="connsiteX8" fmla="*/ 1963327 w 2087787"/>
                  <a:gd name="connsiteY8" fmla="*/ 2167002 h 2561350"/>
                  <a:gd name="connsiteX9" fmla="*/ 1234196 w 2087787"/>
                  <a:gd name="connsiteY9" fmla="*/ 2167002 h 2561350"/>
                  <a:gd name="connsiteX10" fmla="*/ 1254069 w 2087787"/>
                  <a:gd name="connsiteY10" fmla="*/ 2275300 h 2561350"/>
                  <a:gd name="connsiteX11" fmla="*/ 804013 w 2087787"/>
                  <a:gd name="connsiteY11" fmla="*/ 2277680 h 2561350"/>
                  <a:gd name="connsiteX12" fmla="*/ 833946 w 2087787"/>
                  <a:gd name="connsiteY12" fmla="*/ 2167002 h 2561350"/>
                  <a:gd name="connsiteX13" fmla="*/ 167547 w 2087787"/>
                  <a:gd name="connsiteY13" fmla="*/ 2167002 h 2561350"/>
                  <a:gd name="connsiteX14" fmla="*/ 167547 w 2087787"/>
                  <a:gd name="connsiteY14" fmla="*/ 1458174 h 2561350"/>
                  <a:gd name="connsiteX15" fmla="*/ 262546 w 2087787"/>
                  <a:gd name="connsiteY15" fmla="*/ 1495354 h 2561350"/>
                  <a:gd name="connsiteX16" fmla="*/ 260166 w 2087787"/>
                  <a:gd name="connsiteY16" fmla="*/ 1045298 h 2561350"/>
                  <a:gd name="connsiteX17" fmla="*/ 167547 w 2087787"/>
                  <a:gd name="connsiteY17" fmla="*/ 1071146 h 2561350"/>
                  <a:gd name="connsiteX18" fmla="*/ 121127 w 2087787"/>
                  <a:gd name="connsiteY18" fmla="*/ 382371 h 2561350"/>
                  <a:gd name="connsiteX19" fmla="*/ 838917 w 2087787"/>
                  <a:gd name="connsiteY19" fmla="*/ 389002 h 2561350"/>
                  <a:gd name="connsiteX20" fmla="*/ 804013 w 2087787"/>
                  <a:gd name="connsiteY20" fmla="*/ 283670 h 2561350"/>
                  <a:gd name="connsiteX21" fmla="*/ 1039756 w 2087787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88885"/>
                  <a:gd name="connsiteY0" fmla="*/ 3 h 2561350"/>
                  <a:gd name="connsiteX1" fmla="*/ 1239747 w 2088885"/>
                  <a:gd name="connsiteY1" fmla="*/ 286050 h 2561350"/>
                  <a:gd name="connsiteX2" fmla="*/ 1217611 w 2088885"/>
                  <a:gd name="connsiteY2" fmla="*/ 389002 h 2561350"/>
                  <a:gd name="connsiteX3" fmla="*/ 1968899 w 2088885"/>
                  <a:gd name="connsiteY3" fmla="*/ 369108 h 2561350"/>
                  <a:gd name="connsiteX4" fmla="*/ 1949005 w 2088885"/>
                  <a:gd name="connsiteY4" fmla="*/ 1063389 h 2561350"/>
                  <a:gd name="connsiteX5" fmla="*/ 1859687 w 2088885"/>
                  <a:gd name="connsiteY5" fmla="*/ 1037347 h 2561350"/>
                  <a:gd name="connsiteX6" fmla="*/ 1857307 w 2088885"/>
                  <a:gd name="connsiteY6" fmla="*/ 1487403 h 2561350"/>
                  <a:gd name="connsiteX7" fmla="*/ 1949005 w 2088885"/>
                  <a:gd name="connsiteY7" fmla="*/ 1449629 h 2561350"/>
                  <a:gd name="connsiteX8" fmla="*/ 1949005 w 2088885"/>
                  <a:gd name="connsiteY8" fmla="*/ 2167002 h 2561350"/>
                  <a:gd name="connsiteX9" fmla="*/ 1219874 w 2088885"/>
                  <a:gd name="connsiteY9" fmla="*/ 2167002 h 2561350"/>
                  <a:gd name="connsiteX10" fmla="*/ 1239747 w 2088885"/>
                  <a:gd name="connsiteY10" fmla="*/ 2275300 h 2561350"/>
                  <a:gd name="connsiteX11" fmla="*/ 789691 w 2088885"/>
                  <a:gd name="connsiteY11" fmla="*/ 2277680 h 2561350"/>
                  <a:gd name="connsiteX12" fmla="*/ 819624 w 2088885"/>
                  <a:gd name="connsiteY12" fmla="*/ 2167002 h 2561350"/>
                  <a:gd name="connsiteX13" fmla="*/ 153225 w 2088885"/>
                  <a:gd name="connsiteY13" fmla="*/ 2167002 h 2561350"/>
                  <a:gd name="connsiteX14" fmla="*/ 153225 w 2088885"/>
                  <a:gd name="connsiteY14" fmla="*/ 1458174 h 2561350"/>
                  <a:gd name="connsiteX15" fmla="*/ 248224 w 2088885"/>
                  <a:gd name="connsiteY15" fmla="*/ 1495354 h 2561350"/>
                  <a:gd name="connsiteX16" fmla="*/ 245844 w 2088885"/>
                  <a:gd name="connsiteY16" fmla="*/ 1045298 h 2561350"/>
                  <a:gd name="connsiteX17" fmla="*/ 153225 w 2088885"/>
                  <a:gd name="connsiteY17" fmla="*/ 1071146 h 2561350"/>
                  <a:gd name="connsiteX18" fmla="*/ 106805 w 2088885"/>
                  <a:gd name="connsiteY18" fmla="*/ 382371 h 2561350"/>
                  <a:gd name="connsiteX19" fmla="*/ 824595 w 2088885"/>
                  <a:gd name="connsiteY19" fmla="*/ 389002 h 2561350"/>
                  <a:gd name="connsiteX20" fmla="*/ 789691 w 2088885"/>
                  <a:gd name="connsiteY20" fmla="*/ 283670 h 2561350"/>
                  <a:gd name="connsiteX21" fmla="*/ 1025434 w 208888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073465"/>
                  <a:gd name="connsiteY0" fmla="*/ 3 h 2561350"/>
                  <a:gd name="connsiteX1" fmla="*/ 1239747 w 2073465"/>
                  <a:gd name="connsiteY1" fmla="*/ 286050 h 2561350"/>
                  <a:gd name="connsiteX2" fmla="*/ 1217611 w 2073465"/>
                  <a:gd name="connsiteY2" fmla="*/ 389002 h 2561350"/>
                  <a:gd name="connsiteX3" fmla="*/ 1968899 w 2073465"/>
                  <a:gd name="connsiteY3" fmla="*/ 369108 h 2561350"/>
                  <a:gd name="connsiteX4" fmla="*/ 1949005 w 2073465"/>
                  <a:gd name="connsiteY4" fmla="*/ 1063389 h 2561350"/>
                  <a:gd name="connsiteX5" fmla="*/ 1859687 w 2073465"/>
                  <a:gd name="connsiteY5" fmla="*/ 1037347 h 2561350"/>
                  <a:gd name="connsiteX6" fmla="*/ 1857307 w 2073465"/>
                  <a:gd name="connsiteY6" fmla="*/ 1487403 h 2561350"/>
                  <a:gd name="connsiteX7" fmla="*/ 1949005 w 2073465"/>
                  <a:gd name="connsiteY7" fmla="*/ 1449629 h 2561350"/>
                  <a:gd name="connsiteX8" fmla="*/ 1949005 w 2073465"/>
                  <a:gd name="connsiteY8" fmla="*/ 2167002 h 2561350"/>
                  <a:gd name="connsiteX9" fmla="*/ 1219874 w 2073465"/>
                  <a:gd name="connsiteY9" fmla="*/ 2167002 h 2561350"/>
                  <a:gd name="connsiteX10" fmla="*/ 1239747 w 2073465"/>
                  <a:gd name="connsiteY10" fmla="*/ 2275300 h 2561350"/>
                  <a:gd name="connsiteX11" fmla="*/ 789691 w 2073465"/>
                  <a:gd name="connsiteY11" fmla="*/ 2277680 h 2561350"/>
                  <a:gd name="connsiteX12" fmla="*/ 819624 w 2073465"/>
                  <a:gd name="connsiteY12" fmla="*/ 2167002 h 2561350"/>
                  <a:gd name="connsiteX13" fmla="*/ 153225 w 2073465"/>
                  <a:gd name="connsiteY13" fmla="*/ 2167002 h 2561350"/>
                  <a:gd name="connsiteX14" fmla="*/ 153225 w 2073465"/>
                  <a:gd name="connsiteY14" fmla="*/ 1458174 h 2561350"/>
                  <a:gd name="connsiteX15" fmla="*/ 248224 w 2073465"/>
                  <a:gd name="connsiteY15" fmla="*/ 1495354 h 2561350"/>
                  <a:gd name="connsiteX16" fmla="*/ 245844 w 2073465"/>
                  <a:gd name="connsiteY16" fmla="*/ 1045298 h 2561350"/>
                  <a:gd name="connsiteX17" fmla="*/ 153225 w 2073465"/>
                  <a:gd name="connsiteY17" fmla="*/ 1071146 h 2561350"/>
                  <a:gd name="connsiteX18" fmla="*/ 106805 w 2073465"/>
                  <a:gd name="connsiteY18" fmla="*/ 382371 h 2561350"/>
                  <a:gd name="connsiteX19" fmla="*/ 824595 w 2073465"/>
                  <a:gd name="connsiteY19" fmla="*/ 389002 h 2561350"/>
                  <a:gd name="connsiteX20" fmla="*/ 789691 w 2073465"/>
                  <a:gd name="connsiteY20" fmla="*/ 283670 h 2561350"/>
                  <a:gd name="connsiteX21" fmla="*/ 1025434 w 2073465"/>
                  <a:gd name="connsiteY21" fmla="*/ 3 h 2561350"/>
                  <a:gd name="connsiteX0" fmla="*/ 1025434 w 2102756"/>
                  <a:gd name="connsiteY0" fmla="*/ 3 h 2561350"/>
                  <a:gd name="connsiteX1" fmla="*/ 1239747 w 2102756"/>
                  <a:gd name="connsiteY1" fmla="*/ 286050 h 2561350"/>
                  <a:gd name="connsiteX2" fmla="*/ 1217611 w 2102756"/>
                  <a:gd name="connsiteY2" fmla="*/ 389002 h 2561350"/>
                  <a:gd name="connsiteX3" fmla="*/ 1968899 w 2102756"/>
                  <a:gd name="connsiteY3" fmla="*/ 369108 h 2561350"/>
                  <a:gd name="connsiteX4" fmla="*/ 1949005 w 2102756"/>
                  <a:gd name="connsiteY4" fmla="*/ 1063389 h 2561350"/>
                  <a:gd name="connsiteX5" fmla="*/ 1859687 w 2102756"/>
                  <a:gd name="connsiteY5" fmla="*/ 1037347 h 2561350"/>
                  <a:gd name="connsiteX6" fmla="*/ 1857307 w 2102756"/>
                  <a:gd name="connsiteY6" fmla="*/ 1487403 h 2561350"/>
                  <a:gd name="connsiteX7" fmla="*/ 1995425 w 2102756"/>
                  <a:gd name="connsiteY7" fmla="*/ 1456260 h 2561350"/>
                  <a:gd name="connsiteX8" fmla="*/ 1949005 w 2102756"/>
                  <a:gd name="connsiteY8" fmla="*/ 2167002 h 2561350"/>
                  <a:gd name="connsiteX9" fmla="*/ 1219874 w 2102756"/>
                  <a:gd name="connsiteY9" fmla="*/ 2167002 h 2561350"/>
                  <a:gd name="connsiteX10" fmla="*/ 1239747 w 2102756"/>
                  <a:gd name="connsiteY10" fmla="*/ 2275300 h 2561350"/>
                  <a:gd name="connsiteX11" fmla="*/ 789691 w 2102756"/>
                  <a:gd name="connsiteY11" fmla="*/ 2277680 h 2561350"/>
                  <a:gd name="connsiteX12" fmla="*/ 819624 w 2102756"/>
                  <a:gd name="connsiteY12" fmla="*/ 2167002 h 2561350"/>
                  <a:gd name="connsiteX13" fmla="*/ 153225 w 2102756"/>
                  <a:gd name="connsiteY13" fmla="*/ 2167002 h 2561350"/>
                  <a:gd name="connsiteX14" fmla="*/ 153225 w 2102756"/>
                  <a:gd name="connsiteY14" fmla="*/ 1458174 h 2561350"/>
                  <a:gd name="connsiteX15" fmla="*/ 248224 w 2102756"/>
                  <a:gd name="connsiteY15" fmla="*/ 1495354 h 2561350"/>
                  <a:gd name="connsiteX16" fmla="*/ 245844 w 2102756"/>
                  <a:gd name="connsiteY16" fmla="*/ 1045298 h 2561350"/>
                  <a:gd name="connsiteX17" fmla="*/ 153225 w 2102756"/>
                  <a:gd name="connsiteY17" fmla="*/ 1071146 h 2561350"/>
                  <a:gd name="connsiteX18" fmla="*/ 106805 w 2102756"/>
                  <a:gd name="connsiteY18" fmla="*/ 382371 h 2561350"/>
                  <a:gd name="connsiteX19" fmla="*/ 824595 w 2102756"/>
                  <a:gd name="connsiteY19" fmla="*/ 389002 h 2561350"/>
                  <a:gd name="connsiteX20" fmla="*/ 789691 w 2102756"/>
                  <a:gd name="connsiteY20" fmla="*/ 283670 h 2561350"/>
                  <a:gd name="connsiteX21" fmla="*/ 1025434 w 2102756"/>
                  <a:gd name="connsiteY21" fmla="*/ 3 h 2561350"/>
                  <a:gd name="connsiteX0" fmla="*/ 1025434 w 2076232"/>
                  <a:gd name="connsiteY0" fmla="*/ 3 h 2561350"/>
                  <a:gd name="connsiteX1" fmla="*/ 1239747 w 2076232"/>
                  <a:gd name="connsiteY1" fmla="*/ 286050 h 2561350"/>
                  <a:gd name="connsiteX2" fmla="*/ 1217611 w 2076232"/>
                  <a:gd name="connsiteY2" fmla="*/ 389002 h 2561350"/>
                  <a:gd name="connsiteX3" fmla="*/ 1968899 w 2076232"/>
                  <a:gd name="connsiteY3" fmla="*/ 369108 h 2561350"/>
                  <a:gd name="connsiteX4" fmla="*/ 1949005 w 2076232"/>
                  <a:gd name="connsiteY4" fmla="*/ 1063389 h 2561350"/>
                  <a:gd name="connsiteX5" fmla="*/ 1859687 w 2076232"/>
                  <a:gd name="connsiteY5" fmla="*/ 1037347 h 2561350"/>
                  <a:gd name="connsiteX6" fmla="*/ 1857307 w 2076232"/>
                  <a:gd name="connsiteY6" fmla="*/ 1487403 h 2561350"/>
                  <a:gd name="connsiteX7" fmla="*/ 1995425 w 2076232"/>
                  <a:gd name="connsiteY7" fmla="*/ 1456260 h 2561350"/>
                  <a:gd name="connsiteX8" fmla="*/ 1949005 w 2076232"/>
                  <a:gd name="connsiteY8" fmla="*/ 2167002 h 2561350"/>
                  <a:gd name="connsiteX9" fmla="*/ 1219874 w 2076232"/>
                  <a:gd name="connsiteY9" fmla="*/ 2167002 h 2561350"/>
                  <a:gd name="connsiteX10" fmla="*/ 1239747 w 2076232"/>
                  <a:gd name="connsiteY10" fmla="*/ 2275300 h 2561350"/>
                  <a:gd name="connsiteX11" fmla="*/ 789691 w 2076232"/>
                  <a:gd name="connsiteY11" fmla="*/ 2277680 h 2561350"/>
                  <a:gd name="connsiteX12" fmla="*/ 819624 w 2076232"/>
                  <a:gd name="connsiteY12" fmla="*/ 2167002 h 2561350"/>
                  <a:gd name="connsiteX13" fmla="*/ 153225 w 2076232"/>
                  <a:gd name="connsiteY13" fmla="*/ 2167002 h 2561350"/>
                  <a:gd name="connsiteX14" fmla="*/ 153225 w 2076232"/>
                  <a:gd name="connsiteY14" fmla="*/ 1458174 h 2561350"/>
                  <a:gd name="connsiteX15" fmla="*/ 248224 w 2076232"/>
                  <a:gd name="connsiteY15" fmla="*/ 1495354 h 2561350"/>
                  <a:gd name="connsiteX16" fmla="*/ 245844 w 2076232"/>
                  <a:gd name="connsiteY16" fmla="*/ 1045298 h 2561350"/>
                  <a:gd name="connsiteX17" fmla="*/ 153225 w 2076232"/>
                  <a:gd name="connsiteY17" fmla="*/ 1071146 h 2561350"/>
                  <a:gd name="connsiteX18" fmla="*/ 106805 w 2076232"/>
                  <a:gd name="connsiteY18" fmla="*/ 382371 h 2561350"/>
                  <a:gd name="connsiteX19" fmla="*/ 824595 w 2076232"/>
                  <a:gd name="connsiteY19" fmla="*/ 389002 h 2561350"/>
                  <a:gd name="connsiteX20" fmla="*/ 789691 w 2076232"/>
                  <a:gd name="connsiteY20" fmla="*/ 283670 h 2561350"/>
                  <a:gd name="connsiteX21" fmla="*/ 1025434 w 2076232"/>
                  <a:gd name="connsiteY21" fmla="*/ 3 h 2561350"/>
                  <a:gd name="connsiteX0" fmla="*/ 1025434 w 2077711"/>
                  <a:gd name="connsiteY0" fmla="*/ 3 h 2561350"/>
                  <a:gd name="connsiteX1" fmla="*/ 1239747 w 2077711"/>
                  <a:gd name="connsiteY1" fmla="*/ 286050 h 2561350"/>
                  <a:gd name="connsiteX2" fmla="*/ 1217611 w 2077711"/>
                  <a:gd name="connsiteY2" fmla="*/ 389002 h 2561350"/>
                  <a:gd name="connsiteX3" fmla="*/ 1968899 w 2077711"/>
                  <a:gd name="connsiteY3" fmla="*/ 369108 h 2561350"/>
                  <a:gd name="connsiteX4" fmla="*/ 1949005 w 2077711"/>
                  <a:gd name="connsiteY4" fmla="*/ 1063389 h 2561350"/>
                  <a:gd name="connsiteX5" fmla="*/ 1859687 w 2077711"/>
                  <a:gd name="connsiteY5" fmla="*/ 1037347 h 2561350"/>
                  <a:gd name="connsiteX6" fmla="*/ 1857307 w 2077711"/>
                  <a:gd name="connsiteY6" fmla="*/ 1487403 h 2561350"/>
                  <a:gd name="connsiteX7" fmla="*/ 1995425 w 2077711"/>
                  <a:gd name="connsiteY7" fmla="*/ 1456260 h 2561350"/>
                  <a:gd name="connsiteX8" fmla="*/ 1949005 w 2077711"/>
                  <a:gd name="connsiteY8" fmla="*/ 2167002 h 2561350"/>
                  <a:gd name="connsiteX9" fmla="*/ 1219874 w 2077711"/>
                  <a:gd name="connsiteY9" fmla="*/ 2167002 h 2561350"/>
                  <a:gd name="connsiteX10" fmla="*/ 1239747 w 2077711"/>
                  <a:gd name="connsiteY10" fmla="*/ 2275300 h 2561350"/>
                  <a:gd name="connsiteX11" fmla="*/ 789691 w 2077711"/>
                  <a:gd name="connsiteY11" fmla="*/ 2277680 h 2561350"/>
                  <a:gd name="connsiteX12" fmla="*/ 819624 w 2077711"/>
                  <a:gd name="connsiteY12" fmla="*/ 2167002 h 2561350"/>
                  <a:gd name="connsiteX13" fmla="*/ 153225 w 2077711"/>
                  <a:gd name="connsiteY13" fmla="*/ 2167002 h 2561350"/>
                  <a:gd name="connsiteX14" fmla="*/ 153225 w 2077711"/>
                  <a:gd name="connsiteY14" fmla="*/ 1458174 h 2561350"/>
                  <a:gd name="connsiteX15" fmla="*/ 248224 w 2077711"/>
                  <a:gd name="connsiteY15" fmla="*/ 1495354 h 2561350"/>
                  <a:gd name="connsiteX16" fmla="*/ 245844 w 2077711"/>
                  <a:gd name="connsiteY16" fmla="*/ 1045298 h 2561350"/>
                  <a:gd name="connsiteX17" fmla="*/ 153225 w 2077711"/>
                  <a:gd name="connsiteY17" fmla="*/ 1071146 h 2561350"/>
                  <a:gd name="connsiteX18" fmla="*/ 106805 w 2077711"/>
                  <a:gd name="connsiteY18" fmla="*/ 382371 h 2561350"/>
                  <a:gd name="connsiteX19" fmla="*/ 824595 w 2077711"/>
                  <a:gd name="connsiteY19" fmla="*/ 389002 h 2561350"/>
                  <a:gd name="connsiteX20" fmla="*/ 789691 w 2077711"/>
                  <a:gd name="connsiteY20" fmla="*/ 283670 h 2561350"/>
                  <a:gd name="connsiteX21" fmla="*/ 1025434 w 2077711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57307 w 2082173"/>
                  <a:gd name="connsiteY6" fmla="*/ 1487403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57307 w 2082173"/>
                  <a:gd name="connsiteY6" fmla="*/ 1487403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67002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53225 w 2082173"/>
                  <a:gd name="connsiteY13" fmla="*/ 2167002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53225 w 2082173"/>
                  <a:gd name="connsiteY14" fmla="*/ 1458174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1331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1331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13436 w 2082173"/>
                  <a:gd name="connsiteY14" fmla="*/ 1511225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48224 w 2082173"/>
                  <a:gd name="connsiteY15" fmla="*/ 1495354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94643 w 2082173"/>
                  <a:gd name="connsiteY15" fmla="*/ 1574931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25434 w 2082173"/>
                  <a:gd name="connsiteY0" fmla="*/ 3 h 2561350"/>
                  <a:gd name="connsiteX1" fmla="*/ 1239747 w 2082173"/>
                  <a:gd name="connsiteY1" fmla="*/ 286050 h 2561350"/>
                  <a:gd name="connsiteX2" fmla="*/ 1217611 w 2082173"/>
                  <a:gd name="connsiteY2" fmla="*/ 389002 h 2561350"/>
                  <a:gd name="connsiteX3" fmla="*/ 1968899 w 2082173"/>
                  <a:gd name="connsiteY3" fmla="*/ 369108 h 2561350"/>
                  <a:gd name="connsiteX4" fmla="*/ 1962267 w 2082173"/>
                  <a:gd name="connsiteY4" fmla="*/ 1096546 h 2561350"/>
                  <a:gd name="connsiteX5" fmla="*/ 1859687 w 2082173"/>
                  <a:gd name="connsiteY5" fmla="*/ 1037347 h 2561350"/>
                  <a:gd name="connsiteX6" fmla="*/ 1844045 w 2082173"/>
                  <a:gd name="connsiteY6" fmla="*/ 1520560 h 2561350"/>
                  <a:gd name="connsiteX7" fmla="*/ 1995425 w 2082173"/>
                  <a:gd name="connsiteY7" fmla="*/ 1456260 h 2561350"/>
                  <a:gd name="connsiteX8" fmla="*/ 1949005 w 2082173"/>
                  <a:gd name="connsiteY8" fmla="*/ 2180265 h 2561350"/>
                  <a:gd name="connsiteX9" fmla="*/ 1219874 w 2082173"/>
                  <a:gd name="connsiteY9" fmla="*/ 2167002 h 2561350"/>
                  <a:gd name="connsiteX10" fmla="*/ 1239747 w 2082173"/>
                  <a:gd name="connsiteY10" fmla="*/ 2275300 h 2561350"/>
                  <a:gd name="connsiteX11" fmla="*/ 789691 w 2082173"/>
                  <a:gd name="connsiteY11" fmla="*/ 2277680 h 2561350"/>
                  <a:gd name="connsiteX12" fmla="*/ 819624 w 2082173"/>
                  <a:gd name="connsiteY12" fmla="*/ 2167002 h 2561350"/>
                  <a:gd name="connsiteX13" fmla="*/ 126699 w 2082173"/>
                  <a:gd name="connsiteY13" fmla="*/ 2200159 h 2561350"/>
                  <a:gd name="connsiteX14" fmla="*/ 106805 w 2082173"/>
                  <a:gd name="connsiteY14" fmla="*/ 1497962 h 2561350"/>
                  <a:gd name="connsiteX15" fmla="*/ 268118 w 2082173"/>
                  <a:gd name="connsiteY15" fmla="*/ 1561668 h 2561350"/>
                  <a:gd name="connsiteX16" fmla="*/ 245844 w 2082173"/>
                  <a:gd name="connsiteY16" fmla="*/ 1045298 h 2561350"/>
                  <a:gd name="connsiteX17" fmla="*/ 153225 w 2082173"/>
                  <a:gd name="connsiteY17" fmla="*/ 1071146 h 2561350"/>
                  <a:gd name="connsiteX18" fmla="*/ 106805 w 2082173"/>
                  <a:gd name="connsiteY18" fmla="*/ 382371 h 2561350"/>
                  <a:gd name="connsiteX19" fmla="*/ 824595 w 2082173"/>
                  <a:gd name="connsiteY19" fmla="*/ 389002 h 2561350"/>
                  <a:gd name="connsiteX20" fmla="*/ 789691 w 2082173"/>
                  <a:gd name="connsiteY20" fmla="*/ 283670 h 2561350"/>
                  <a:gd name="connsiteX21" fmla="*/ 1025434 w 2082173"/>
                  <a:gd name="connsiteY21" fmla="*/ 3 h 2561350"/>
                  <a:gd name="connsiteX0" fmla="*/ 1038495 w 2095234"/>
                  <a:gd name="connsiteY0" fmla="*/ 3 h 2561350"/>
                  <a:gd name="connsiteX1" fmla="*/ 1252808 w 2095234"/>
                  <a:gd name="connsiteY1" fmla="*/ 286050 h 2561350"/>
                  <a:gd name="connsiteX2" fmla="*/ 1230672 w 2095234"/>
                  <a:gd name="connsiteY2" fmla="*/ 389002 h 2561350"/>
                  <a:gd name="connsiteX3" fmla="*/ 1981960 w 2095234"/>
                  <a:gd name="connsiteY3" fmla="*/ 369108 h 2561350"/>
                  <a:gd name="connsiteX4" fmla="*/ 1975328 w 2095234"/>
                  <a:gd name="connsiteY4" fmla="*/ 1096546 h 2561350"/>
                  <a:gd name="connsiteX5" fmla="*/ 1872748 w 2095234"/>
                  <a:gd name="connsiteY5" fmla="*/ 1037347 h 2561350"/>
                  <a:gd name="connsiteX6" fmla="*/ 1857106 w 2095234"/>
                  <a:gd name="connsiteY6" fmla="*/ 1520560 h 2561350"/>
                  <a:gd name="connsiteX7" fmla="*/ 2008486 w 2095234"/>
                  <a:gd name="connsiteY7" fmla="*/ 1456260 h 2561350"/>
                  <a:gd name="connsiteX8" fmla="*/ 1962066 w 2095234"/>
                  <a:gd name="connsiteY8" fmla="*/ 2180265 h 2561350"/>
                  <a:gd name="connsiteX9" fmla="*/ 1232935 w 2095234"/>
                  <a:gd name="connsiteY9" fmla="*/ 2167002 h 2561350"/>
                  <a:gd name="connsiteX10" fmla="*/ 1252808 w 2095234"/>
                  <a:gd name="connsiteY10" fmla="*/ 2275300 h 2561350"/>
                  <a:gd name="connsiteX11" fmla="*/ 802752 w 2095234"/>
                  <a:gd name="connsiteY11" fmla="*/ 2277680 h 2561350"/>
                  <a:gd name="connsiteX12" fmla="*/ 832685 w 2095234"/>
                  <a:gd name="connsiteY12" fmla="*/ 2167002 h 2561350"/>
                  <a:gd name="connsiteX13" fmla="*/ 139760 w 2095234"/>
                  <a:gd name="connsiteY13" fmla="*/ 2200159 h 2561350"/>
                  <a:gd name="connsiteX14" fmla="*/ 119866 w 2095234"/>
                  <a:gd name="connsiteY14" fmla="*/ 1497962 h 2561350"/>
                  <a:gd name="connsiteX15" fmla="*/ 281179 w 2095234"/>
                  <a:gd name="connsiteY15" fmla="*/ 1561668 h 2561350"/>
                  <a:gd name="connsiteX16" fmla="*/ 258905 w 2095234"/>
                  <a:gd name="connsiteY16" fmla="*/ 1045298 h 2561350"/>
                  <a:gd name="connsiteX17" fmla="*/ 146392 w 2095234"/>
                  <a:gd name="connsiteY17" fmla="*/ 1091040 h 2561350"/>
                  <a:gd name="connsiteX18" fmla="*/ 119866 w 2095234"/>
                  <a:gd name="connsiteY18" fmla="*/ 382371 h 2561350"/>
                  <a:gd name="connsiteX19" fmla="*/ 837656 w 2095234"/>
                  <a:gd name="connsiteY19" fmla="*/ 389002 h 2561350"/>
                  <a:gd name="connsiteX20" fmla="*/ 802752 w 2095234"/>
                  <a:gd name="connsiteY20" fmla="*/ 283670 h 2561350"/>
                  <a:gd name="connsiteX21" fmla="*/ 1038495 w 2095234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29810 w 2086549"/>
                  <a:gd name="connsiteY0" fmla="*/ 3 h 2561350"/>
                  <a:gd name="connsiteX1" fmla="*/ 1244123 w 2086549"/>
                  <a:gd name="connsiteY1" fmla="*/ 286050 h 2561350"/>
                  <a:gd name="connsiteX2" fmla="*/ 1221987 w 2086549"/>
                  <a:gd name="connsiteY2" fmla="*/ 389002 h 2561350"/>
                  <a:gd name="connsiteX3" fmla="*/ 1973275 w 2086549"/>
                  <a:gd name="connsiteY3" fmla="*/ 369108 h 2561350"/>
                  <a:gd name="connsiteX4" fmla="*/ 1966643 w 2086549"/>
                  <a:gd name="connsiteY4" fmla="*/ 1096546 h 2561350"/>
                  <a:gd name="connsiteX5" fmla="*/ 1864063 w 2086549"/>
                  <a:gd name="connsiteY5" fmla="*/ 1037347 h 2561350"/>
                  <a:gd name="connsiteX6" fmla="*/ 1848421 w 2086549"/>
                  <a:gd name="connsiteY6" fmla="*/ 1520560 h 2561350"/>
                  <a:gd name="connsiteX7" fmla="*/ 1999801 w 2086549"/>
                  <a:gd name="connsiteY7" fmla="*/ 1456260 h 2561350"/>
                  <a:gd name="connsiteX8" fmla="*/ 1953381 w 2086549"/>
                  <a:gd name="connsiteY8" fmla="*/ 2180265 h 2561350"/>
                  <a:gd name="connsiteX9" fmla="*/ 1224250 w 2086549"/>
                  <a:gd name="connsiteY9" fmla="*/ 2167002 h 2561350"/>
                  <a:gd name="connsiteX10" fmla="*/ 1244123 w 2086549"/>
                  <a:gd name="connsiteY10" fmla="*/ 2275300 h 2561350"/>
                  <a:gd name="connsiteX11" fmla="*/ 794067 w 2086549"/>
                  <a:gd name="connsiteY11" fmla="*/ 2277680 h 2561350"/>
                  <a:gd name="connsiteX12" fmla="*/ 824000 w 2086549"/>
                  <a:gd name="connsiteY12" fmla="*/ 2167002 h 2561350"/>
                  <a:gd name="connsiteX13" fmla="*/ 131075 w 2086549"/>
                  <a:gd name="connsiteY13" fmla="*/ 2200159 h 2561350"/>
                  <a:gd name="connsiteX14" fmla="*/ 111181 w 2086549"/>
                  <a:gd name="connsiteY14" fmla="*/ 1497962 h 2561350"/>
                  <a:gd name="connsiteX15" fmla="*/ 272494 w 2086549"/>
                  <a:gd name="connsiteY15" fmla="*/ 1561668 h 2561350"/>
                  <a:gd name="connsiteX16" fmla="*/ 250220 w 2086549"/>
                  <a:gd name="connsiteY16" fmla="*/ 1045298 h 2561350"/>
                  <a:gd name="connsiteX17" fmla="*/ 137707 w 2086549"/>
                  <a:gd name="connsiteY17" fmla="*/ 1091040 h 2561350"/>
                  <a:gd name="connsiteX18" fmla="*/ 111181 w 2086549"/>
                  <a:gd name="connsiteY18" fmla="*/ 382371 h 2561350"/>
                  <a:gd name="connsiteX19" fmla="*/ 828971 w 2086549"/>
                  <a:gd name="connsiteY19" fmla="*/ 389002 h 2561350"/>
                  <a:gd name="connsiteX20" fmla="*/ 794067 w 2086549"/>
                  <a:gd name="connsiteY20" fmla="*/ 283670 h 2561350"/>
                  <a:gd name="connsiteX21" fmla="*/ 1029810 w 2086549"/>
                  <a:gd name="connsiteY21" fmla="*/ 3 h 2561350"/>
                  <a:gd name="connsiteX0" fmla="*/ 1019868 w 2076607"/>
                  <a:gd name="connsiteY0" fmla="*/ 3 h 2561350"/>
                  <a:gd name="connsiteX1" fmla="*/ 1234181 w 2076607"/>
                  <a:gd name="connsiteY1" fmla="*/ 286050 h 2561350"/>
                  <a:gd name="connsiteX2" fmla="*/ 1212045 w 2076607"/>
                  <a:gd name="connsiteY2" fmla="*/ 389002 h 2561350"/>
                  <a:gd name="connsiteX3" fmla="*/ 1963333 w 2076607"/>
                  <a:gd name="connsiteY3" fmla="*/ 369108 h 2561350"/>
                  <a:gd name="connsiteX4" fmla="*/ 1956701 w 2076607"/>
                  <a:gd name="connsiteY4" fmla="*/ 1096546 h 2561350"/>
                  <a:gd name="connsiteX5" fmla="*/ 1854121 w 2076607"/>
                  <a:gd name="connsiteY5" fmla="*/ 1037347 h 2561350"/>
                  <a:gd name="connsiteX6" fmla="*/ 1838479 w 2076607"/>
                  <a:gd name="connsiteY6" fmla="*/ 1520560 h 2561350"/>
                  <a:gd name="connsiteX7" fmla="*/ 1989859 w 2076607"/>
                  <a:gd name="connsiteY7" fmla="*/ 1456260 h 2561350"/>
                  <a:gd name="connsiteX8" fmla="*/ 1943439 w 2076607"/>
                  <a:gd name="connsiteY8" fmla="*/ 2180265 h 2561350"/>
                  <a:gd name="connsiteX9" fmla="*/ 1214308 w 2076607"/>
                  <a:gd name="connsiteY9" fmla="*/ 2167002 h 2561350"/>
                  <a:gd name="connsiteX10" fmla="*/ 1234181 w 2076607"/>
                  <a:gd name="connsiteY10" fmla="*/ 2275300 h 2561350"/>
                  <a:gd name="connsiteX11" fmla="*/ 784125 w 2076607"/>
                  <a:gd name="connsiteY11" fmla="*/ 2277680 h 2561350"/>
                  <a:gd name="connsiteX12" fmla="*/ 814058 w 2076607"/>
                  <a:gd name="connsiteY12" fmla="*/ 2167002 h 2561350"/>
                  <a:gd name="connsiteX13" fmla="*/ 121133 w 2076607"/>
                  <a:gd name="connsiteY13" fmla="*/ 2200159 h 2561350"/>
                  <a:gd name="connsiteX14" fmla="*/ 101239 w 2076607"/>
                  <a:gd name="connsiteY14" fmla="*/ 1497962 h 2561350"/>
                  <a:gd name="connsiteX15" fmla="*/ 262552 w 2076607"/>
                  <a:gd name="connsiteY15" fmla="*/ 1561668 h 2561350"/>
                  <a:gd name="connsiteX16" fmla="*/ 240278 w 2076607"/>
                  <a:gd name="connsiteY16" fmla="*/ 1045298 h 2561350"/>
                  <a:gd name="connsiteX17" fmla="*/ 101239 w 2076607"/>
                  <a:gd name="connsiteY17" fmla="*/ 382371 h 2561350"/>
                  <a:gd name="connsiteX18" fmla="*/ 819029 w 2076607"/>
                  <a:gd name="connsiteY18" fmla="*/ 389002 h 2561350"/>
                  <a:gd name="connsiteX19" fmla="*/ 784125 w 2076607"/>
                  <a:gd name="connsiteY19" fmla="*/ 283670 h 2561350"/>
                  <a:gd name="connsiteX20" fmla="*/ 1019868 w 2076607"/>
                  <a:gd name="connsiteY20" fmla="*/ 3 h 2561350"/>
                  <a:gd name="connsiteX0" fmla="*/ 1019868 w 2076607"/>
                  <a:gd name="connsiteY0" fmla="*/ 3 h 2561350"/>
                  <a:gd name="connsiteX1" fmla="*/ 1234181 w 2076607"/>
                  <a:gd name="connsiteY1" fmla="*/ 286050 h 2561350"/>
                  <a:gd name="connsiteX2" fmla="*/ 1212045 w 2076607"/>
                  <a:gd name="connsiteY2" fmla="*/ 389002 h 2561350"/>
                  <a:gd name="connsiteX3" fmla="*/ 1963333 w 2076607"/>
                  <a:gd name="connsiteY3" fmla="*/ 369108 h 2561350"/>
                  <a:gd name="connsiteX4" fmla="*/ 1956701 w 2076607"/>
                  <a:gd name="connsiteY4" fmla="*/ 1096546 h 2561350"/>
                  <a:gd name="connsiteX5" fmla="*/ 1854121 w 2076607"/>
                  <a:gd name="connsiteY5" fmla="*/ 1037347 h 2561350"/>
                  <a:gd name="connsiteX6" fmla="*/ 1838479 w 2076607"/>
                  <a:gd name="connsiteY6" fmla="*/ 1520560 h 2561350"/>
                  <a:gd name="connsiteX7" fmla="*/ 1989859 w 2076607"/>
                  <a:gd name="connsiteY7" fmla="*/ 1456260 h 2561350"/>
                  <a:gd name="connsiteX8" fmla="*/ 1943439 w 2076607"/>
                  <a:gd name="connsiteY8" fmla="*/ 2180265 h 2561350"/>
                  <a:gd name="connsiteX9" fmla="*/ 1214308 w 2076607"/>
                  <a:gd name="connsiteY9" fmla="*/ 2167002 h 2561350"/>
                  <a:gd name="connsiteX10" fmla="*/ 1234181 w 2076607"/>
                  <a:gd name="connsiteY10" fmla="*/ 2275300 h 2561350"/>
                  <a:gd name="connsiteX11" fmla="*/ 784125 w 2076607"/>
                  <a:gd name="connsiteY11" fmla="*/ 2277680 h 2561350"/>
                  <a:gd name="connsiteX12" fmla="*/ 814058 w 2076607"/>
                  <a:gd name="connsiteY12" fmla="*/ 2167002 h 2561350"/>
                  <a:gd name="connsiteX13" fmla="*/ 121133 w 2076607"/>
                  <a:gd name="connsiteY13" fmla="*/ 2200159 h 2561350"/>
                  <a:gd name="connsiteX14" fmla="*/ 101239 w 2076607"/>
                  <a:gd name="connsiteY14" fmla="*/ 1497962 h 2561350"/>
                  <a:gd name="connsiteX15" fmla="*/ 262552 w 2076607"/>
                  <a:gd name="connsiteY15" fmla="*/ 1561668 h 2561350"/>
                  <a:gd name="connsiteX16" fmla="*/ 240278 w 2076607"/>
                  <a:gd name="connsiteY16" fmla="*/ 1045298 h 2561350"/>
                  <a:gd name="connsiteX17" fmla="*/ 136388 w 2076607"/>
                  <a:gd name="connsiteY17" fmla="*/ 727479 h 2561350"/>
                  <a:gd name="connsiteX18" fmla="*/ 101239 w 2076607"/>
                  <a:gd name="connsiteY18" fmla="*/ 382371 h 2561350"/>
                  <a:gd name="connsiteX19" fmla="*/ 819029 w 2076607"/>
                  <a:gd name="connsiteY19" fmla="*/ 389002 h 2561350"/>
                  <a:gd name="connsiteX20" fmla="*/ 784125 w 2076607"/>
                  <a:gd name="connsiteY20" fmla="*/ 283670 h 2561350"/>
                  <a:gd name="connsiteX21" fmla="*/ 1019868 w 2076607"/>
                  <a:gd name="connsiteY21" fmla="*/ 3 h 2561350"/>
                  <a:gd name="connsiteX0" fmla="*/ 1030195 w 2086934"/>
                  <a:gd name="connsiteY0" fmla="*/ 3 h 2561350"/>
                  <a:gd name="connsiteX1" fmla="*/ 1244508 w 2086934"/>
                  <a:gd name="connsiteY1" fmla="*/ 286050 h 2561350"/>
                  <a:gd name="connsiteX2" fmla="*/ 1222372 w 2086934"/>
                  <a:gd name="connsiteY2" fmla="*/ 389002 h 2561350"/>
                  <a:gd name="connsiteX3" fmla="*/ 1973660 w 2086934"/>
                  <a:gd name="connsiteY3" fmla="*/ 369108 h 2561350"/>
                  <a:gd name="connsiteX4" fmla="*/ 1967028 w 2086934"/>
                  <a:gd name="connsiteY4" fmla="*/ 1096546 h 2561350"/>
                  <a:gd name="connsiteX5" fmla="*/ 1864448 w 2086934"/>
                  <a:gd name="connsiteY5" fmla="*/ 1037347 h 2561350"/>
                  <a:gd name="connsiteX6" fmla="*/ 1848806 w 2086934"/>
                  <a:gd name="connsiteY6" fmla="*/ 1520560 h 2561350"/>
                  <a:gd name="connsiteX7" fmla="*/ 2000186 w 2086934"/>
                  <a:gd name="connsiteY7" fmla="*/ 1456260 h 2561350"/>
                  <a:gd name="connsiteX8" fmla="*/ 1953766 w 2086934"/>
                  <a:gd name="connsiteY8" fmla="*/ 2180265 h 2561350"/>
                  <a:gd name="connsiteX9" fmla="*/ 1224635 w 2086934"/>
                  <a:gd name="connsiteY9" fmla="*/ 2167002 h 2561350"/>
                  <a:gd name="connsiteX10" fmla="*/ 1244508 w 2086934"/>
                  <a:gd name="connsiteY10" fmla="*/ 2275300 h 2561350"/>
                  <a:gd name="connsiteX11" fmla="*/ 794452 w 2086934"/>
                  <a:gd name="connsiteY11" fmla="*/ 2277680 h 2561350"/>
                  <a:gd name="connsiteX12" fmla="*/ 824385 w 2086934"/>
                  <a:gd name="connsiteY12" fmla="*/ 2167002 h 2561350"/>
                  <a:gd name="connsiteX13" fmla="*/ 131460 w 2086934"/>
                  <a:gd name="connsiteY13" fmla="*/ 2200159 h 2561350"/>
                  <a:gd name="connsiteX14" fmla="*/ 111566 w 2086934"/>
                  <a:gd name="connsiteY14" fmla="*/ 1497962 h 2561350"/>
                  <a:gd name="connsiteX15" fmla="*/ 272879 w 2086934"/>
                  <a:gd name="connsiteY15" fmla="*/ 1561668 h 2561350"/>
                  <a:gd name="connsiteX16" fmla="*/ 250605 w 2086934"/>
                  <a:gd name="connsiteY16" fmla="*/ 1045298 h 2561350"/>
                  <a:gd name="connsiteX17" fmla="*/ 9943 w 2086934"/>
                  <a:gd name="connsiteY17" fmla="*/ 1018431 h 2561350"/>
                  <a:gd name="connsiteX18" fmla="*/ 111566 w 2086934"/>
                  <a:gd name="connsiteY18" fmla="*/ 382371 h 2561350"/>
                  <a:gd name="connsiteX19" fmla="*/ 829356 w 2086934"/>
                  <a:gd name="connsiteY19" fmla="*/ 389002 h 2561350"/>
                  <a:gd name="connsiteX20" fmla="*/ 794452 w 2086934"/>
                  <a:gd name="connsiteY20" fmla="*/ 283670 h 2561350"/>
                  <a:gd name="connsiteX21" fmla="*/ 1030195 w 2086934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09253 w 2084621"/>
                  <a:gd name="connsiteY14" fmla="*/ 1497962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270566 w 2084621"/>
                  <a:gd name="connsiteY14" fmla="*/ 1561668 h 2561350"/>
                  <a:gd name="connsiteX15" fmla="*/ 248292 w 2084621"/>
                  <a:gd name="connsiteY15" fmla="*/ 1045298 h 2561350"/>
                  <a:gd name="connsiteX16" fmla="*/ 7630 w 2084621"/>
                  <a:gd name="connsiteY16" fmla="*/ 1018431 h 2561350"/>
                  <a:gd name="connsiteX17" fmla="*/ 109253 w 2084621"/>
                  <a:gd name="connsiteY17" fmla="*/ 382371 h 2561350"/>
                  <a:gd name="connsiteX18" fmla="*/ 827043 w 2084621"/>
                  <a:gd name="connsiteY18" fmla="*/ 389002 h 2561350"/>
                  <a:gd name="connsiteX19" fmla="*/ 792139 w 2084621"/>
                  <a:gd name="connsiteY19" fmla="*/ 283670 h 2561350"/>
                  <a:gd name="connsiteX20" fmla="*/ 1027882 w 2084621"/>
                  <a:gd name="connsiteY20" fmla="*/ 3 h 2561350"/>
                  <a:gd name="connsiteX0" fmla="*/ 1027882 w 2084621"/>
                  <a:gd name="connsiteY0" fmla="*/ 3 h 2561350"/>
                  <a:gd name="connsiteX1" fmla="*/ 1242195 w 2084621"/>
                  <a:gd name="connsiteY1" fmla="*/ 286050 h 2561350"/>
                  <a:gd name="connsiteX2" fmla="*/ 1220059 w 2084621"/>
                  <a:gd name="connsiteY2" fmla="*/ 389002 h 2561350"/>
                  <a:gd name="connsiteX3" fmla="*/ 1971347 w 2084621"/>
                  <a:gd name="connsiteY3" fmla="*/ 369108 h 2561350"/>
                  <a:gd name="connsiteX4" fmla="*/ 1964715 w 2084621"/>
                  <a:gd name="connsiteY4" fmla="*/ 1096546 h 2561350"/>
                  <a:gd name="connsiteX5" fmla="*/ 1862135 w 2084621"/>
                  <a:gd name="connsiteY5" fmla="*/ 1037347 h 2561350"/>
                  <a:gd name="connsiteX6" fmla="*/ 1846493 w 2084621"/>
                  <a:gd name="connsiteY6" fmla="*/ 1520560 h 2561350"/>
                  <a:gd name="connsiteX7" fmla="*/ 1997873 w 2084621"/>
                  <a:gd name="connsiteY7" fmla="*/ 1456260 h 2561350"/>
                  <a:gd name="connsiteX8" fmla="*/ 1951453 w 2084621"/>
                  <a:gd name="connsiteY8" fmla="*/ 2180265 h 2561350"/>
                  <a:gd name="connsiteX9" fmla="*/ 1222322 w 2084621"/>
                  <a:gd name="connsiteY9" fmla="*/ 2167002 h 2561350"/>
                  <a:gd name="connsiteX10" fmla="*/ 1242195 w 2084621"/>
                  <a:gd name="connsiteY10" fmla="*/ 2275300 h 2561350"/>
                  <a:gd name="connsiteX11" fmla="*/ 792139 w 2084621"/>
                  <a:gd name="connsiteY11" fmla="*/ 2277680 h 2561350"/>
                  <a:gd name="connsiteX12" fmla="*/ 822072 w 2084621"/>
                  <a:gd name="connsiteY12" fmla="*/ 2167002 h 2561350"/>
                  <a:gd name="connsiteX13" fmla="*/ 129147 w 2084621"/>
                  <a:gd name="connsiteY13" fmla="*/ 2200159 h 2561350"/>
                  <a:gd name="connsiteX14" fmla="*/ 176730 w 2084621"/>
                  <a:gd name="connsiteY14" fmla="*/ 1866419 h 2561350"/>
                  <a:gd name="connsiteX15" fmla="*/ 270566 w 2084621"/>
                  <a:gd name="connsiteY15" fmla="*/ 1561668 h 2561350"/>
                  <a:gd name="connsiteX16" fmla="*/ 248292 w 2084621"/>
                  <a:gd name="connsiteY16" fmla="*/ 1045298 h 2561350"/>
                  <a:gd name="connsiteX17" fmla="*/ 7630 w 2084621"/>
                  <a:gd name="connsiteY17" fmla="*/ 1018431 h 2561350"/>
                  <a:gd name="connsiteX18" fmla="*/ 109253 w 2084621"/>
                  <a:gd name="connsiteY18" fmla="*/ 382371 h 2561350"/>
                  <a:gd name="connsiteX19" fmla="*/ 827043 w 2084621"/>
                  <a:gd name="connsiteY19" fmla="*/ 389002 h 2561350"/>
                  <a:gd name="connsiteX20" fmla="*/ 792139 w 2084621"/>
                  <a:gd name="connsiteY20" fmla="*/ 283670 h 2561350"/>
                  <a:gd name="connsiteX21" fmla="*/ 1027882 w 2084621"/>
                  <a:gd name="connsiteY21" fmla="*/ 3 h 2561350"/>
                  <a:gd name="connsiteX0" fmla="*/ 1033820 w 2090559"/>
                  <a:gd name="connsiteY0" fmla="*/ 3 h 2561350"/>
                  <a:gd name="connsiteX1" fmla="*/ 1248133 w 2090559"/>
                  <a:gd name="connsiteY1" fmla="*/ 286050 h 2561350"/>
                  <a:gd name="connsiteX2" fmla="*/ 1225997 w 2090559"/>
                  <a:gd name="connsiteY2" fmla="*/ 389002 h 2561350"/>
                  <a:gd name="connsiteX3" fmla="*/ 1977285 w 2090559"/>
                  <a:gd name="connsiteY3" fmla="*/ 369108 h 2561350"/>
                  <a:gd name="connsiteX4" fmla="*/ 1970653 w 2090559"/>
                  <a:gd name="connsiteY4" fmla="*/ 1096546 h 2561350"/>
                  <a:gd name="connsiteX5" fmla="*/ 1868073 w 2090559"/>
                  <a:gd name="connsiteY5" fmla="*/ 1037347 h 2561350"/>
                  <a:gd name="connsiteX6" fmla="*/ 1852431 w 2090559"/>
                  <a:gd name="connsiteY6" fmla="*/ 1520560 h 2561350"/>
                  <a:gd name="connsiteX7" fmla="*/ 2003811 w 2090559"/>
                  <a:gd name="connsiteY7" fmla="*/ 1456260 h 2561350"/>
                  <a:gd name="connsiteX8" fmla="*/ 1957391 w 2090559"/>
                  <a:gd name="connsiteY8" fmla="*/ 2180265 h 2561350"/>
                  <a:gd name="connsiteX9" fmla="*/ 1228260 w 2090559"/>
                  <a:gd name="connsiteY9" fmla="*/ 2167002 h 2561350"/>
                  <a:gd name="connsiteX10" fmla="*/ 1248133 w 2090559"/>
                  <a:gd name="connsiteY10" fmla="*/ 2275300 h 2561350"/>
                  <a:gd name="connsiteX11" fmla="*/ 798077 w 2090559"/>
                  <a:gd name="connsiteY11" fmla="*/ 2277680 h 2561350"/>
                  <a:gd name="connsiteX12" fmla="*/ 828010 w 2090559"/>
                  <a:gd name="connsiteY12" fmla="*/ 2167002 h 2561350"/>
                  <a:gd name="connsiteX13" fmla="*/ 135085 w 2090559"/>
                  <a:gd name="connsiteY13" fmla="*/ 2200159 h 2561350"/>
                  <a:gd name="connsiteX14" fmla="*/ 6108 w 2090559"/>
                  <a:gd name="connsiteY14" fmla="*/ 1657531 h 2561350"/>
                  <a:gd name="connsiteX15" fmla="*/ 276504 w 2090559"/>
                  <a:gd name="connsiteY15" fmla="*/ 1561668 h 2561350"/>
                  <a:gd name="connsiteX16" fmla="*/ 254230 w 2090559"/>
                  <a:gd name="connsiteY16" fmla="*/ 1045298 h 2561350"/>
                  <a:gd name="connsiteX17" fmla="*/ 13568 w 2090559"/>
                  <a:gd name="connsiteY17" fmla="*/ 1018431 h 2561350"/>
                  <a:gd name="connsiteX18" fmla="*/ 115191 w 2090559"/>
                  <a:gd name="connsiteY18" fmla="*/ 382371 h 2561350"/>
                  <a:gd name="connsiteX19" fmla="*/ 832981 w 2090559"/>
                  <a:gd name="connsiteY19" fmla="*/ 389002 h 2561350"/>
                  <a:gd name="connsiteX20" fmla="*/ 798077 w 2090559"/>
                  <a:gd name="connsiteY20" fmla="*/ 283670 h 2561350"/>
                  <a:gd name="connsiteX21" fmla="*/ 1033820 w 2090559"/>
                  <a:gd name="connsiteY21" fmla="*/ 3 h 2561350"/>
                  <a:gd name="connsiteX0" fmla="*/ 1032856 w 2089595"/>
                  <a:gd name="connsiteY0" fmla="*/ 3 h 2561350"/>
                  <a:gd name="connsiteX1" fmla="*/ 1247169 w 2089595"/>
                  <a:gd name="connsiteY1" fmla="*/ 286050 h 2561350"/>
                  <a:gd name="connsiteX2" fmla="*/ 1225033 w 2089595"/>
                  <a:gd name="connsiteY2" fmla="*/ 389002 h 2561350"/>
                  <a:gd name="connsiteX3" fmla="*/ 1976321 w 2089595"/>
                  <a:gd name="connsiteY3" fmla="*/ 369108 h 2561350"/>
                  <a:gd name="connsiteX4" fmla="*/ 1969689 w 2089595"/>
                  <a:gd name="connsiteY4" fmla="*/ 1096546 h 2561350"/>
                  <a:gd name="connsiteX5" fmla="*/ 1867109 w 2089595"/>
                  <a:gd name="connsiteY5" fmla="*/ 1037347 h 2561350"/>
                  <a:gd name="connsiteX6" fmla="*/ 1851467 w 2089595"/>
                  <a:gd name="connsiteY6" fmla="*/ 1520560 h 2561350"/>
                  <a:gd name="connsiteX7" fmla="*/ 2002847 w 2089595"/>
                  <a:gd name="connsiteY7" fmla="*/ 1456260 h 2561350"/>
                  <a:gd name="connsiteX8" fmla="*/ 1956427 w 2089595"/>
                  <a:gd name="connsiteY8" fmla="*/ 2180265 h 2561350"/>
                  <a:gd name="connsiteX9" fmla="*/ 1227296 w 2089595"/>
                  <a:gd name="connsiteY9" fmla="*/ 2167002 h 2561350"/>
                  <a:gd name="connsiteX10" fmla="*/ 1247169 w 2089595"/>
                  <a:gd name="connsiteY10" fmla="*/ 2275300 h 2561350"/>
                  <a:gd name="connsiteX11" fmla="*/ 797113 w 2089595"/>
                  <a:gd name="connsiteY11" fmla="*/ 2277680 h 2561350"/>
                  <a:gd name="connsiteX12" fmla="*/ 827046 w 2089595"/>
                  <a:gd name="connsiteY12" fmla="*/ 2167002 h 2561350"/>
                  <a:gd name="connsiteX13" fmla="*/ 134121 w 2089595"/>
                  <a:gd name="connsiteY13" fmla="*/ 2200159 h 2561350"/>
                  <a:gd name="connsiteX14" fmla="*/ 5144 w 2089595"/>
                  <a:gd name="connsiteY14" fmla="*/ 1657531 h 2561350"/>
                  <a:gd name="connsiteX15" fmla="*/ 275540 w 2089595"/>
                  <a:gd name="connsiteY15" fmla="*/ 1561668 h 2561350"/>
                  <a:gd name="connsiteX16" fmla="*/ 253266 w 2089595"/>
                  <a:gd name="connsiteY16" fmla="*/ 1045298 h 2561350"/>
                  <a:gd name="connsiteX17" fmla="*/ 12604 w 2089595"/>
                  <a:gd name="connsiteY17" fmla="*/ 1018431 h 2561350"/>
                  <a:gd name="connsiteX18" fmla="*/ 114227 w 2089595"/>
                  <a:gd name="connsiteY18" fmla="*/ 382371 h 2561350"/>
                  <a:gd name="connsiteX19" fmla="*/ 832017 w 2089595"/>
                  <a:gd name="connsiteY19" fmla="*/ 389002 h 2561350"/>
                  <a:gd name="connsiteX20" fmla="*/ 797113 w 2089595"/>
                  <a:gd name="connsiteY20" fmla="*/ 283670 h 2561350"/>
                  <a:gd name="connsiteX21" fmla="*/ 1032856 w 2089595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5501"/>
                  <a:gd name="connsiteY0" fmla="*/ 3 h 2561350"/>
                  <a:gd name="connsiteX1" fmla="*/ 1243075 w 2085501"/>
                  <a:gd name="connsiteY1" fmla="*/ 286050 h 2561350"/>
                  <a:gd name="connsiteX2" fmla="*/ 1220939 w 2085501"/>
                  <a:gd name="connsiteY2" fmla="*/ 389002 h 2561350"/>
                  <a:gd name="connsiteX3" fmla="*/ 1972227 w 2085501"/>
                  <a:gd name="connsiteY3" fmla="*/ 369108 h 2561350"/>
                  <a:gd name="connsiteX4" fmla="*/ 1965595 w 2085501"/>
                  <a:gd name="connsiteY4" fmla="*/ 1096546 h 2561350"/>
                  <a:gd name="connsiteX5" fmla="*/ 1863015 w 2085501"/>
                  <a:gd name="connsiteY5" fmla="*/ 1037347 h 2561350"/>
                  <a:gd name="connsiteX6" fmla="*/ 1847373 w 2085501"/>
                  <a:gd name="connsiteY6" fmla="*/ 1520560 h 2561350"/>
                  <a:gd name="connsiteX7" fmla="*/ 1998753 w 2085501"/>
                  <a:gd name="connsiteY7" fmla="*/ 1456260 h 2561350"/>
                  <a:gd name="connsiteX8" fmla="*/ 1952333 w 2085501"/>
                  <a:gd name="connsiteY8" fmla="*/ 2180265 h 2561350"/>
                  <a:gd name="connsiteX9" fmla="*/ 1223202 w 2085501"/>
                  <a:gd name="connsiteY9" fmla="*/ 2167002 h 2561350"/>
                  <a:gd name="connsiteX10" fmla="*/ 1243075 w 2085501"/>
                  <a:gd name="connsiteY10" fmla="*/ 2275300 h 2561350"/>
                  <a:gd name="connsiteX11" fmla="*/ 793019 w 2085501"/>
                  <a:gd name="connsiteY11" fmla="*/ 2277680 h 2561350"/>
                  <a:gd name="connsiteX12" fmla="*/ 822952 w 2085501"/>
                  <a:gd name="connsiteY12" fmla="*/ 2167002 h 2561350"/>
                  <a:gd name="connsiteX13" fmla="*/ 130027 w 2085501"/>
                  <a:gd name="connsiteY13" fmla="*/ 2200159 h 2561350"/>
                  <a:gd name="connsiteX14" fmla="*/ 1050 w 2085501"/>
                  <a:gd name="connsiteY14" fmla="*/ 1657531 h 2561350"/>
                  <a:gd name="connsiteX15" fmla="*/ 271446 w 2085501"/>
                  <a:gd name="connsiteY15" fmla="*/ 1561668 h 2561350"/>
                  <a:gd name="connsiteX16" fmla="*/ 249172 w 2085501"/>
                  <a:gd name="connsiteY16" fmla="*/ 1045298 h 2561350"/>
                  <a:gd name="connsiteX17" fmla="*/ 8510 w 2085501"/>
                  <a:gd name="connsiteY17" fmla="*/ 1018431 h 2561350"/>
                  <a:gd name="connsiteX18" fmla="*/ 110133 w 2085501"/>
                  <a:gd name="connsiteY18" fmla="*/ 382371 h 2561350"/>
                  <a:gd name="connsiteX19" fmla="*/ 827923 w 2085501"/>
                  <a:gd name="connsiteY19" fmla="*/ 389002 h 2561350"/>
                  <a:gd name="connsiteX20" fmla="*/ 793019 w 2085501"/>
                  <a:gd name="connsiteY20" fmla="*/ 283670 h 2561350"/>
                  <a:gd name="connsiteX21" fmla="*/ 1028762 w 2085501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1863015 w 2081039"/>
                  <a:gd name="connsiteY4" fmla="*/ 1037347 h 2561350"/>
                  <a:gd name="connsiteX5" fmla="*/ 1847373 w 2081039"/>
                  <a:gd name="connsiteY5" fmla="*/ 1520560 h 2561350"/>
                  <a:gd name="connsiteX6" fmla="*/ 1998753 w 2081039"/>
                  <a:gd name="connsiteY6" fmla="*/ 1456260 h 2561350"/>
                  <a:gd name="connsiteX7" fmla="*/ 1952333 w 2081039"/>
                  <a:gd name="connsiteY7" fmla="*/ 2180265 h 2561350"/>
                  <a:gd name="connsiteX8" fmla="*/ 1223202 w 2081039"/>
                  <a:gd name="connsiteY8" fmla="*/ 2167002 h 2561350"/>
                  <a:gd name="connsiteX9" fmla="*/ 1243075 w 2081039"/>
                  <a:gd name="connsiteY9" fmla="*/ 2275300 h 2561350"/>
                  <a:gd name="connsiteX10" fmla="*/ 793019 w 2081039"/>
                  <a:gd name="connsiteY10" fmla="*/ 2277680 h 2561350"/>
                  <a:gd name="connsiteX11" fmla="*/ 822952 w 2081039"/>
                  <a:gd name="connsiteY11" fmla="*/ 2167002 h 2561350"/>
                  <a:gd name="connsiteX12" fmla="*/ 130027 w 2081039"/>
                  <a:gd name="connsiteY12" fmla="*/ 2200159 h 2561350"/>
                  <a:gd name="connsiteX13" fmla="*/ 1050 w 2081039"/>
                  <a:gd name="connsiteY13" fmla="*/ 1657531 h 2561350"/>
                  <a:gd name="connsiteX14" fmla="*/ 271446 w 2081039"/>
                  <a:gd name="connsiteY14" fmla="*/ 1561668 h 2561350"/>
                  <a:gd name="connsiteX15" fmla="*/ 249172 w 2081039"/>
                  <a:gd name="connsiteY15" fmla="*/ 1045298 h 2561350"/>
                  <a:gd name="connsiteX16" fmla="*/ 8510 w 2081039"/>
                  <a:gd name="connsiteY16" fmla="*/ 1018431 h 2561350"/>
                  <a:gd name="connsiteX17" fmla="*/ 110133 w 2081039"/>
                  <a:gd name="connsiteY17" fmla="*/ 382371 h 2561350"/>
                  <a:gd name="connsiteX18" fmla="*/ 827923 w 2081039"/>
                  <a:gd name="connsiteY18" fmla="*/ 389002 h 2561350"/>
                  <a:gd name="connsiteX19" fmla="*/ 793019 w 2081039"/>
                  <a:gd name="connsiteY19" fmla="*/ 283670 h 2561350"/>
                  <a:gd name="connsiteX20" fmla="*/ 1028762 w 2081039"/>
                  <a:gd name="connsiteY20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1933270 w 2081039"/>
                  <a:gd name="connsiteY4" fmla="*/ 764780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72227 w 2081039"/>
                  <a:gd name="connsiteY3" fmla="*/ 36910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7307 w 2081039"/>
                  <a:gd name="connsiteY3" fmla="*/ 371595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7307 w 2081039"/>
                  <a:gd name="connsiteY3" fmla="*/ 371595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9793 w 2081039"/>
                  <a:gd name="connsiteY3" fmla="*/ 36164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81039"/>
                  <a:gd name="connsiteY0" fmla="*/ 3 h 2561350"/>
                  <a:gd name="connsiteX1" fmla="*/ 1243075 w 2081039"/>
                  <a:gd name="connsiteY1" fmla="*/ 286050 h 2561350"/>
                  <a:gd name="connsiteX2" fmla="*/ 1220939 w 2081039"/>
                  <a:gd name="connsiteY2" fmla="*/ 389002 h 2561350"/>
                  <a:gd name="connsiteX3" fmla="*/ 1959793 w 2081039"/>
                  <a:gd name="connsiteY3" fmla="*/ 361648 h 2561350"/>
                  <a:gd name="connsiteX4" fmla="*/ 2067556 w 2081039"/>
                  <a:gd name="connsiteY4" fmla="*/ 961234 h 2561350"/>
                  <a:gd name="connsiteX5" fmla="*/ 1863015 w 2081039"/>
                  <a:gd name="connsiteY5" fmla="*/ 1037347 h 2561350"/>
                  <a:gd name="connsiteX6" fmla="*/ 1847373 w 2081039"/>
                  <a:gd name="connsiteY6" fmla="*/ 1520560 h 2561350"/>
                  <a:gd name="connsiteX7" fmla="*/ 1998753 w 2081039"/>
                  <a:gd name="connsiteY7" fmla="*/ 1456260 h 2561350"/>
                  <a:gd name="connsiteX8" fmla="*/ 1952333 w 2081039"/>
                  <a:gd name="connsiteY8" fmla="*/ 2180265 h 2561350"/>
                  <a:gd name="connsiteX9" fmla="*/ 1223202 w 2081039"/>
                  <a:gd name="connsiteY9" fmla="*/ 2167002 h 2561350"/>
                  <a:gd name="connsiteX10" fmla="*/ 1243075 w 2081039"/>
                  <a:gd name="connsiteY10" fmla="*/ 2275300 h 2561350"/>
                  <a:gd name="connsiteX11" fmla="*/ 793019 w 2081039"/>
                  <a:gd name="connsiteY11" fmla="*/ 2277680 h 2561350"/>
                  <a:gd name="connsiteX12" fmla="*/ 822952 w 2081039"/>
                  <a:gd name="connsiteY12" fmla="*/ 2167002 h 2561350"/>
                  <a:gd name="connsiteX13" fmla="*/ 130027 w 2081039"/>
                  <a:gd name="connsiteY13" fmla="*/ 2200159 h 2561350"/>
                  <a:gd name="connsiteX14" fmla="*/ 1050 w 2081039"/>
                  <a:gd name="connsiteY14" fmla="*/ 1657531 h 2561350"/>
                  <a:gd name="connsiteX15" fmla="*/ 271446 w 2081039"/>
                  <a:gd name="connsiteY15" fmla="*/ 1561668 h 2561350"/>
                  <a:gd name="connsiteX16" fmla="*/ 249172 w 2081039"/>
                  <a:gd name="connsiteY16" fmla="*/ 1045298 h 2561350"/>
                  <a:gd name="connsiteX17" fmla="*/ 8510 w 2081039"/>
                  <a:gd name="connsiteY17" fmla="*/ 1018431 h 2561350"/>
                  <a:gd name="connsiteX18" fmla="*/ 110133 w 2081039"/>
                  <a:gd name="connsiteY18" fmla="*/ 382371 h 2561350"/>
                  <a:gd name="connsiteX19" fmla="*/ 827923 w 2081039"/>
                  <a:gd name="connsiteY19" fmla="*/ 389002 h 2561350"/>
                  <a:gd name="connsiteX20" fmla="*/ 793019 w 2081039"/>
                  <a:gd name="connsiteY20" fmla="*/ 283670 h 2561350"/>
                  <a:gd name="connsiteX21" fmla="*/ 1028762 w 208103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1952333 w 2072429"/>
                  <a:gd name="connsiteY7" fmla="*/ 2180265 h 2561350"/>
                  <a:gd name="connsiteX8" fmla="*/ 1223202 w 2072429"/>
                  <a:gd name="connsiteY8" fmla="*/ 2167002 h 2561350"/>
                  <a:gd name="connsiteX9" fmla="*/ 1243075 w 2072429"/>
                  <a:gd name="connsiteY9" fmla="*/ 2275300 h 2561350"/>
                  <a:gd name="connsiteX10" fmla="*/ 793019 w 2072429"/>
                  <a:gd name="connsiteY10" fmla="*/ 2277680 h 2561350"/>
                  <a:gd name="connsiteX11" fmla="*/ 822952 w 2072429"/>
                  <a:gd name="connsiteY11" fmla="*/ 2167002 h 2561350"/>
                  <a:gd name="connsiteX12" fmla="*/ 130027 w 2072429"/>
                  <a:gd name="connsiteY12" fmla="*/ 2200159 h 2561350"/>
                  <a:gd name="connsiteX13" fmla="*/ 1050 w 2072429"/>
                  <a:gd name="connsiteY13" fmla="*/ 1657531 h 2561350"/>
                  <a:gd name="connsiteX14" fmla="*/ 271446 w 2072429"/>
                  <a:gd name="connsiteY14" fmla="*/ 1561668 h 2561350"/>
                  <a:gd name="connsiteX15" fmla="*/ 249172 w 2072429"/>
                  <a:gd name="connsiteY15" fmla="*/ 1045298 h 2561350"/>
                  <a:gd name="connsiteX16" fmla="*/ 8510 w 2072429"/>
                  <a:gd name="connsiteY16" fmla="*/ 1018431 h 2561350"/>
                  <a:gd name="connsiteX17" fmla="*/ 110133 w 2072429"/>
                  <a:gd name="connsiteY17" fmla="*/ 382371 h 2561350"/>
                  <a:gd name="connsiteX18" fmla="*/ 827923 w 2072429"/>
                  <a:gd name="connsiteY18" fmla="*/ 389002 h 2561350"/>
                  <a:gd name="connsiteX19" fmla="*/ 793019 w 2072429"/>
                  <a:gd name="connsiteY19" fmla="*/ 283670 h 2561350"/>
                  <a:gd name="connsiteX20" fmla="*/ 1028762 w 2072429"/>
                  <a:gd name="connsiteY20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1890996 w 2072429"/>
                  <a:gd name="connsiteY7" fmla="*/ 1722186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20560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63015 w 2072429"/>
                  <a:gd name="connsiteY5" fmla="*/ 1037347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47373 w 2072429"/>
                  <a:gd name="connsiteY5" fmla="*/ 1535481 h 2561350"/>
                  <a:gd name="connsiteX6" fmla="*/ 2065070 w 2072429"/>
                  <a:gd name="connsiteY6" fmla="*/ 1597847 h 2561350"/>
                  <a:gd name="connsiteX7" fmla="*/ 1952333 w 2072429"/>
                  <a:gd name="connsiteY7" fmla="*/ 2180265 h 2561350"/>
                  <a:gd name="connsiteX8" fmla="*/ 1223202 w 2072429"/>
                  <a:gd name="connsiteY8" fmla="*/ 2167002 h 2561350"/>
                  <a:gd name="connsiteX9" fmla="*/ 1243075 w 2072429"/>
                  <a:gd name="connsiteY9" fmla="*/ 2275300 h 2561350"/>
                  <a:gd name="connsiteX10" fmla="*/ 793019 w 2072429"/>
                  <a:gd name="connsiteY10" fmla="*/ 2277680 h 2561350"/>
                  <a:gd name="connsiteX11" fmla="*/ 822952 w 2072429"/>
                  <a:gd name="connsiteY11" fmla="*/ 2167002 h 2561350"/>
                  <a:gd name="connsiteX12" fmla="*/ 130027 w 2072429"/>
                  <a:gd name="connsiteY12" fmla="*/ 2200159 h 2561350"/>
                  <a:gd name="connsiteX13" fmla="*/ 1050 w 2072429"/>
                  <a:gd name="connsiteY13" fmla="*/ 1657531 h 2561350"/>
                  <a:gd name="connsiteX14" fmla="*/ 271446 w 2072429"/>
                  <a:gd name="connsiteY14" fmla="*/ 1561668 h 2561350"/>
                  <a:gd name="connsiteX15" fmla="*/ 249172 w 2072429"/>
                  <a:gd name="connsiteY15" fmla="*/ 1045298 h 2561350"/>
                  <a:gd name="connsiteX16" fmla="*/ 8510 w 2072429"/>
                  <a:gd name="connsiteY16" fmla="*/ 1018431 h 2561350"/>
                  <a:gd name="connsiteX17" fmla="*/ 110133 w 2072429"/>
                  <a:gd name="connsiteY17" fmla="*/ 382371 h 2561350"/>
                  <a:gd name="connsiteX18" fmla="*/ 827923 w 2072429"/>
                  <a:gd name="connsiteY18" fmla="*/ 389002 h 2561350"/>
                  <a:gd name="connsiteX19" fmla="*/ 793019 w 2072429"/>
                  <a:gd name="connsiteY19" fmla="*/ 283670 h 2561350"/>
                  <a:gd name="connsiteX20" fmla="*/ 1028762 w 2072429"/>
                  <a:gd name="connsiteY20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997927 w 2072429"/>
                  <a:gd name="connsiteY5" fmla="*/ 118007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3536 w 2072429"/>
                  <a:gd name="connsiteY5" fmla="*/ 1025891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1048 w 2072429"/>
                  <a:gd name="connsiteY5" fmla="*/ 1030865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72429"/>
                  <a:gd name="connsiteY0" fmla="*/ 3 h 2561350"/>
                  <a:gd name="connsiteX1" fmla="*/ 1243075 w 2072429"/>
                  <a:gd name="connsiteY1" fmla="*/ 286050 h 2561350"/>
                  <a:gd name="connsiteX2" fmla="*/ 1220939 w 2072429"/>
                  <a:gd name="connsiteY2" fmla="*/ 389002 h 2561350"/>
                  <a:gd name="connsiteX3" fmla="*/ 1959793 w 2072429"/>
                  <a:gd name="connsiteY3" fmla="*/ 361648 h 2561350"/>
                  <a:gd name="connsiteX4" fmla="*/ 2067556 w 2072429"/>
                  <a:gd name="connsiteY4" fmla="*/ 961234 h 2561350"/>
                  <a:gd name="connsiteX5" fmla="*/ 1881048 w 2072429"/>
                  <a:gd name="connsiteY5" fmla="*/ 1030865 h 2561350"/>
                  <a:gd name="connsiteX6" fmla="*/ 1847373 w 2072429"/>
                  <a:gd name="connsiteY6" fmla="*/ 1535481 h 2561350"/>
                  <a:gd name="connsiteX7" fmla="*/ 2065070 w 2072429"/>
                  <a:gd name="connsiteY7" fmla="*/ 1597847 h 2561350"/>
                  <a:gd name="connsiteX8" fmla="*/ 1952333 w 2072429"/>
                  <a:gd name="connsiteY8" fmla="*/ 2180265 h 2561350"/>
                  <a:gd name="connsiteX9" fmla="*/ 1223202 w 2072429"/>
                  <a:gd name="connsiteY9" fmla="*/ 2167002 h 2561350"/>
                  <a:gd name="connsiteX10" fmla="*/ 1243075 w 2072429"/>
                  <a:gd name="connsiteY10" fmla="*/ 2275300 h 2561350"/>
                  <a:gd name="connsiteX11" fmla="*/ 793019 w 2072429"/>
                  <a:gd name="connsiteY11" fmla="*/ 2277680 h 2561350"/>
                  <a:gd name="connsiteX12" fmla="*/ 822952 w 2072429"/>
                  <a:gd name="connsiteY12" fmla="*/ 2167002 h 2561350"/>
                  <a:gd name="connsiteX13" fmla="*/ 130027 w 2072429"/>
                  <a:gd name="connsiteY13" fmla="*/ 2200159 h 2561350"/>
                  <a:gd name="connsiteX14" fmla="*/ 1050 w 2072429"/>
                  <a:gd name="connsiteY14" fmla="*/ 1657531 h 2561350"/>
                  <a:gd name="connsiteX15" fmla="*/ 271446 w 2072429"/>
                  <a:gd name="connsiteY15" fmla="*/ 1561668 h 2561350"/>
                  <a:gd name="connsiteX16" fmla="*/ 249172 w 2072429"/>
                  <a:gd name="connsiteY16" fmla="*/ 1045298 h 2561350"/>
                  <a:gd name="connsiteX17" fmla="*/ 8510 w 2072429"/>
                  <a:gd name="connsiteY17" fmla="*/ 1018431 h 2561350"/>
                  <a:gd name="connsiteX18" fmla="*/ 110133 w 2072429"/>
                  <a:gd name="connsiteY18" fmla="*/ 382371 h 2561350"/>
                  <a:gd name="connsiteX19" fmla="*/ 827923 w 2072429"/>
                  <a:gd name="connsiteY19" fmla="*/ 389002 h 2561350"/>
                  <a:gd name="connsiteX20" fmla="*/ 793019 w 2072429"/>
                  <a:gd name="connsiteY20" fmla="*/ 283670 h 2561350"/>
                  <a:gd name="connsiteX21" fmla="*/ 1028762 w 2072429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  <a:gd name="connsiteX0" fmla="*/ 1028762 w 2069564"/>
                  <a:gd name="connsiteY0" fmla="*/ 3 h 2561350"/>
                  <a:gd name="connsiteX1" fmla="*/ 1243075 w 2069564"/>
                  <a:gd name="connsiteY1" fmla="*/ 286050 h 2561350"/>
                  <a:gd name="connsiteX2" fmla="*/ 1220939 w 2069564"/>
                  <a:gd name="connsiteY2" fmla="*/ 389002 h 2561350"/>
                  <a:gd name="connsiteX3" fmla="*/ 1959793 w 2069564"/>
                  <a:gd name="connsiteY3" fmla="*/ 361648 h 2561350"/>
                  <a:gd name="connsiteX4" fmla="*/ 2067556 w 2069564"/>
                  <a:gd name="connsiteY4" fmla="*/ 961234 h 2561350"/>
                  <a:gd name="connsiteX5" fmla="*/ 1881048 w 2069564"/>
                  <a:gd name="connsiteY5" fmla="*/ 1030865 h 2561350"/>
                  <a:gd name="connsiteX6" fmla="*/ 1847373 w 2069564"/>
                  <a:gd name="connsiteY6" fmla="*/ 1535481 h 2561350"/>
                  <a:gd name="connsiteX7" fmla="*/ 2065070 w 2069564"/>
                  <a:gd name="connsiteY7" fmla="*/ 1597847 h 2561350"/>
                  <a:gd name="connsiteX8" fmla="*/ 1952333 w 2069564"/>
                  <a:gd name="connsiteY8" fmla="*/ 2180265 h 2561350"/>
                  <a:gd name="connsiteX9" fmla="*/ 1223202 w 2069564"/>
                  <a:gd name="connsiteY9" fmla="*/ 2167002 h 2561350"/>
                  <a:gd name="connsiteX10" fmla="*/ 1243075 w 2069564"/>
                  <a:gd name="connsiteY10" fmla="*/ 2275300 h 2561350"/>
                  <a:gd name="connsiteX11" fmla="*/ 793019 w 2069564"/>
                  <a:gd name="connsiteY11" fmla="*/ 2277680 h 2561350"/>
                  <a:gd name="connsiteX12" fmla="*/ 822952 w 2069564"/>
                  <a:gd name="connsiteY12" fmla="*/ 2167002 h 2561350"/>
                  <a:gd name="connsiteX13" fmla="*/ 130027 w 2069564"/>
                  <a:gd name="connsiteY13" fmla="*/ 2200159 h 2561350"/>
                  <a:gd name="connsiteX14" fmla="*/ 1050 w 2069564"/>
                  <a:gd name="connsiteY14" fmla="*/ 1657531 h 2561350"/>
                  <a:gd name="connsiteX15" fmla="*/ 271446 w 2069564"/>
                  <a:gd name="connsiteY15" fmla="*/ 1561668 h 2561350"/>
                  <a:gd name="connsiteX16" fmla="*/ 249172 w 2069564"/>
                  <a:gd name="connsiteY16" fmla="*/ 1045298 h 2561350"/>
                  <a:gd name="connsiteX17" fmla="*/ 8510 w 2069564"/>
                  <a:gd name="connsiteY17" fmla="*/ 1018431 h 2561350"/>
                  <a:gd name="connsiteX18" fmla="*/ 110133 w 2069564"/>
                  <a:gd name="connsiteY18" fmla="*/ 382371 h 2561350"/>
                  <a:gd name="connsiteX19" fmla="*/ 827923 w 2069564"/>
                  <a:gd name="connsiteY19" fmla="*/ 389002 h 2561350"/>
                  <a:gd name="connsiteX20" fmla="*/ 793019 w 2069564"/>
                  <a:gd name="connsiteY20" fmla="*/ 283670 h 2561350"/>
                  <a:gd name="connsiteX21" fmla="*/ 1028762 w 2069564"/>
                  <a:gd name="connsiteY21" fmla="*/ 3 h 256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069564" h="2561350">
                    <a:moveTo>
                      <a:pt x="1028762" y="3"/>
                    </a:moveTo>
                    <a:cubicBezTo>
                      <a:pt x="1197831" y="-691"/>
                      <a:pt x="1365814" y="120921"/>
                      <a:pt x="1243075" y="286050"/>
                    </a:cubicBezTo>
                    <a:cubicBezTo>
                      <a:pt x="1226965" y="315682"/>
                      <a:pt x="1215183" y="348101"/>
                      <a:pt x="1220939" y="389002"/>
                    </a:cubicBezTo>
                    <a:cubicBezTo>
                      <a:pt x="1226007" y="528261"/>
                      <a:pt x="1696102" y="461119"/>
                      <a:pt x="1959793" y="361648"/>
                    </a:cubicBezTo>
                    <a:cubicBezTo>
                      <a:pt x="2053648" y="496394"/>
                      <a:pt x="2070837" y="822506"/>
                      <a:pt x="2067556" y="961234"/>
                    </a:cubicBezTo>
                    <a:cubicBezTo>
                      <a:pt x="2071425" y="1080232"/>
                      <a:pt x="2014728" y="1106744"/>
                      <a:pt x="1881048" y="1030865"/>
                    </a:cubicBezTo>
                    <a:cubicBezTo>
                      <a:pt x="1483772" y="845572"/>
                      <a:pt x="1585020" y="1699608"/>
                      <a:pt x="1847373" y="1535481"/>
                    </a:cubicBezTo>
                    <a:cubicBezTo>
                      <a:pt x="1929125" y="1495441"/>
                      <a:pt x="2055039" y="1373504"/>
                      <a:pt x="2065070" y="1597847"/>
                    </a:cubicBezTo>
                    <a:cubicBezTo>
                      <a:pt x="2080077" y="1677957"/>
                      <a:pt x="2061145" y="2086235"/>
                      <a:pt x="1952333" y="2180265"/>
                    </a:cubicBezTo>
                    <a:cubicBezTo>
                      <a:pt x="1755709" y="2153739"/>
                      <a:pt x="1373407" y="2007849"/>
                      <a:pt x="1223202" y="2167002"/>
                    </a:cubicBezTo>
                    <a:cubicBezTo>
                      <a:pt x="1209721" y="2193452"/>
                      <a:pt x="1212523" y="2230274"/>
                      <a:pt x="1243075" y="2275300"/>
                    </a:cubicBezTo>
                    <a:cubicBezTo>
                      <a:pt x="1483581" y="2660267"/>
                      <a:pt x="581086" y="2652331"/>
                      <a:pt x="793019" y="2277680"/>
                    </a:cubicBezTo>
                    <a:cubicBezTo>
                      <a:pt x="831994" y="2223379"/>
                      <a:pt x="839802" y="2190096"/>
                      <a:pt x="822952" y="2167002"/>
                    </a:cubicBezTo>
                    <a:cubicBezTo>
                      <a:pt x="720184" y="2021111"/>
                      <a:pt x="378685" y="2147108"/>
                      <a:pt x="130027" y="2200159"/>
                    </a:cubicBezTo>
                    <a:cubicBezTo>
                      <a:pt x="37391" y="2130168"/>
                      <a:pt x="-7600" y="1771407"/>
                      <a:pt x="1050" y="1657531"/>
                    </a:cubicBezTo>
                    <a:cubicBezTo>
                      <a:pt x="24620" y="1416831"/>
                      <a:pt x="117773" y="1502066"/>
                      <a:pt x="271446" y="1561668"/>
                    </a:cubicBezTo>
                    <a:cubicBezTo>
                      <a:pt x="483628" y="1635999"/>
                      <a:pt x="591036" y="1022800"/>
                      <a:pt x="249172" y="1045298"/>
                    </a:cubicBezTo>
                    <a:cubicBezTo>
                      <a:pt x="168463" y="1050498"/>
                      <a:pt x="31683" y="1183628"/>
                      <a:pt x="8510" y="1018431"/>
                    </a:cubicBezTo>
                    <a:cubicBezTo>
                      <a:pt x="-14663" y="907943"/>
                      <a:pt x="13766" y="478572"/>
                      <a:pt x="110133" y="382371"/>
                    </a:cubicBezTo>
                    <a:cubicBezTo>
                      <a:pt x="506339" y="514999"/>
                      <a:pt x="789812" y="488473"/>
                      <a:pt x="827923" y="389002"/>
                    </a:cubicBezTo>
                    <a:cubicBezTo>
                      <a:pt x="838244" y="365427"/>
                      <a:pt x="828672" y="333342"/>
                      <a:pt x="793019" y="283670"/>
                    </a:cubicBezTo>
                    <a:cubicBezTo>
                      <a:pt x="687053" y="96344"/>
                      <a:pt x="859693" y="698"/>
                      <a:pt x="1028762" y="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2"/>
                  </a:gs>
                  <a:gs pos="100000">
                    <a:schemeClr val="tx2"/>
                  </a:gs>
                </a:gsLst>
                <a:lin ang="5400000" scaled="1"/>
                <a:tileRect/>
              </a:gradFill>
              <a:ln>
                <a:noFill/>
              </a:ln>
              <a:effectLst/>
              <a:sp3d prstMaterial="dkEdge">
                <a:bevelT w="508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5" name="Group 14"/>
            <p:cNvGrpSpPr/>
            <p:nvPr/>
          </p:nvGrpSpPr>
          <p:grpSpPr>
            <a:xfrm>
              <a:off x="4388482" y="1097274"/>
              <a:ext cx="367037" cy="2855539"/>
              <a:chOff x="4388482" y="1097274"/>
              <a:chExt cx="367037" cy="2855539"/>
            </a:xfrm>
          </p:grpSpPr>
          <p:sp>
            <p:nvSpPr>
              <p:cNvPr id="16" name="TextBox 15"/>
              <p:cNvSpPr txBox="1"/>
              <p:nvPr/>
            </p:nvSpPr>
            <p:spPr>
              <a:xfrm>
                <a:off x="4388482" y="1097274"/>
                <a:ext cx="367037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3200" b="1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1</a:t>
                </a: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4388482" y="2232656"/>
                <a:ext cx="367037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3200" b="1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2</a:t>
                </a: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4388482" y="3368038"/>
                <a:ext cx="367037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3200" b="1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3</a:t>
                </a:r>
              </a:p>
            </p:txBody>
          </p:sp>
        </p:grpSp>
      </p:grpSp>
      <p:grpSp>
        <p:nvGrpSpPr>
          <p:cNvPr id="57" name="Group 56"/>
          <p:cNvGrpSpPr/>
          <p:nvPr/>
        </p:nvGrpSpPr>
        <p:grpSpPr>
          <a:xfrm>
            <a:off x="916908" y="2630507"/>
            <a:ext cx="6710262" cy="1475906"/>
            <a:chOff x="205963" y="1259422"/>
            <a:chExt cx="6710262" cy="1475906"/>
          </a:xfrm>
        </p:grpSpPr>
        <p:sp>
          <p:nvSpPr>
            <p:cNvPr id="58" name="TextBox 57"/>
            <p:cNvSpPr txBox="1"/>
            <p:nvPr/>
          </p:nvSpPr>
          <p:spPr>
            <a:xfrm>
              <a:off x="576920" y="1350333"/>
              <a:ext cx="6339305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h-TH" sz="2800" b="1" dirty="0">
                  <a:solidFill>
                    <a:prstClr val="black"/>
                  </a:solidFill>
                  <a:latin typeface="Angsana New" panose="02020603050405020304" pitchFamily="18" charset="-34"/>
                  <a:cs typeface="Angsana New" panose="02020603050405020304" pitchFamily="18" charset="-34"/>
                </a:rPr>
                <a:t>ส่งเสริมสร้าง</a:t>
              </a:r>
              <a:r>
                <a:rPr lang="th-TH" sz="2800" u="sng" dirty="0">
                  <a:solidFill>
                    <a:srgbClr val="FF0000"/>
                  </a:solidFill>
                  <a:latin typeface="Angsana New" panose="02020603050405020304" pitchFamily="18" charset="-34"/>
                  <a:cs typeface="Angsana New" panose="02020603050405020304" pitchFamily="18" charset="-34"/>
                </a:rPr>
                <a:t>ความมั่นคงและคุณภาพชีวิตที่ดีของข้าราชการและครอบครัวกองทัพเรือ</a:t>
              </a:r>
              <a:r>
                <a:rPr lang="th-TH" sz="2800" b="1" dirty="0">
                  <a:solidFill>
                    <a:prstClr val="black"/>
                  </a:solidFill>
                  <a:latin typeface="Angsana New" panose="02020603050405020304" pitchFamily="18" charset="-34"/>
                  <a:cs typeface="Angsana New" panose="02020603050405020304" pitchFamily="18" charset="-34"/>
                </a:rPr>
                <a:t>ด้วยการเพิ่มรายได้ ลดค่าใช้จ่ายในการดำรงชีพ และการปลดหนี้สิน</a:t>
              </a:r>
              <a:endParaRPr lang="en-US" sz="2800" b="1" dirty="0">
                <a:solidFill>
                  <a:prstClr val="black"/>
                </a:solidFill>
                <a:latin typeface="Angsana New" panose="02020603050405020304" pitchFamily="18" charset="-34"/>
                <a:cs typeface="Angsana New" panose="02020603050405020304" pitchFamily="18" charset="-34"/>
              </a:endParaRPr>
            </a:p>
          </p:txBody>
        </p:sp>
        <p:grpSp>
          <p:nvGrpSpPr>
            <p:cNvPr id="59" name="Group 58"/>
            <p:cNvGrpSpPr/>
            <p:nvPr/>
          </p:nvGrpSpPr>
          <p:grpSpPr>
            <a:xfrm>
              <a:off x="205963" y="1259422"/>
              <a:ext cx="5908655" cy="1475906"/>
              <a:chOff x="205963" y="1259422"/>
              <a:chExt cx="5908655" cy="1475906"/>
            </a:xfrm>
          </p:grpSpPr>
          <p:sp>
            <p:nvSpPr>
              <p:cNvPr id="61" name="Rounded Rectangle 60"/>
              <p:cNvSpPr/>
              <p:nvPr/>
            </p:nvSpPr>
            <p:spPr>
              <a:xfrm>
                <a:off x="344039" y="1259422"/>
                <a:ext cx="5770579" cy="1475906"/>
              </a:xfrm>
              <a:prstGeom prst="roundRect">
                <a:avLst>
                  <a:gd name="adj" fmla="val 40104"/>
                </a:avLst>
              </a:prstGeom>
              <a:noFill/>
              <a:ln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00" b="1" dirty="0">
                  <a:solidFill>
                    <a:prstClr val="black"/>
                  </a:solidFill>
                  <a:latin typeface="Angsana New" panose="02020603050405020304" pitchFamily="18" charset="-34"/>
                  <a:cs typeface="Angsana New" panose="02020603050405020304" pitchFamily="18" charset="-34"/>
                </a:endParaRPr>
              </a:p>
            </p:txBody>
          </p:sp>
          <p:sp>
            <p:nvSpPr>
              <p:cNvPr id="62" name="Oval 61"/>
              <p:cNvSpPr/>
              <p:nvPr/>
            </p:nvSpPr>
            <p:spPr>
              <a:xfrm>
                <a:off x="205963" y="1724129"/>
                <a:ext cx="377228" cy="373493"/>
              </a:xfrm>
              <a:prstGeom prst="ellipse">
                <a:avLst/>
              </a:prstGeom>
              <a:gradFill flip="none" rotWithShape="1">
                <a:gsLst>
                  <a:gs pos="75000">
                    <a:schemeClr val="accent2"/>
                  </a:gs>
                  <a:gs pos="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00" b="1">
                  <a:solidFill>
                    <a:prstClr val="white"/>
                  </a:solidFill>
                  <a:latin typeface="Angsana New" panose="02020603050405020304" pitchFamily="18" charset="-34"/>
                  <a:cs typeface="Angsana New" panose="02020603050405020304" pitchFamily="18" charset="-34"/>
                </a:endParaRPr>
              </a:p>
            </p:txBody>
          </p:sp>
        </p:grpSp>
      </p:grpSp>
      <p:grpSp>
        <p:nvGrpSpPr>
          <p:cNvPr id="69" name="Group 68"/>
          <p:cNvGrpSpPr/>
          <p:nvPr/>
        </p:nvGrpSpPr>
        <p:grpSpPr>
          <a:xfrm>
            <a:off x="993108" y="4191000"/>
            <a:ext cx="6779292" cy="1487507"/>
            <a:chOff x="205963" y="1203979"/>
            <a:chExt cx="6779292" cy="1487507"/>
          </a:xfrm>
        </p:grpSpPr>
        <p:sp>
          <p:nvSpPr>
            <p:cNvPr id="70" name="TextBox 69"/>
            <p:cNvSpPr txBox="1"/>
            <p:nvPr/>
          </p:nvSpPr>
          <p:spPr>
            <a:xfrm>
              <a:off x="576921" y="1203979"/>
              <a:ext cx="6408334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th-TH" sz="2800" b="1" dirty="0">
                  <a:solidFill>
                    <a:prstClr val="black"/>
                  </a:solidFill>
                  <a:latin typeface="Angsana New" panose="02020603050405020304" pitchFamily="18" charset="-34"/>
                  <a:cs typeface="Angsana New" panose="02020603050405020304" pitchFamily="18" charset="-34"/>
                </a:rPr>
                <a:t>เสริมสร้างความรู้ ความชำนาญ และสร้าง</a:t>
              </a:r>
              <a:r>
                <a:rPr lang="th-TH" sz="2800" dirty="0">
                  <a:latin typeface="Angsana New" panose="02020603050405020304" pitchFamily="18" charset="-34"/>
                  <a:cs typeface="Angsana New" panose="02020603050405020304" pitchFamily="18" charset="-34"/>
                </a:rPr>
                <a:t>มาตรฐานการบริการ </a:t>
              </a:r>
              <a:r>
                <a:rPr lang="th-TH" sz="2800" b="1" dirty="0">
                  <a:solidFill>
                    <a:prstClr val="black"/>
                  </a:solidFill>
                  <a:latin typeface="Angsana New" panose="02020603050405020304" pitchFamily="18" charset="-34"/>
                  <a:cs typeface="Angsana New" panose="02020603050405020304" pitchFamily="18" charset="-34"/>
                </a:rPr>
                <a:t>ให้กับบุคลากรของสวัสดิการ เพื่อให้</a:t>
              </a:r>
              <a:r>
                <a:rPr lang="th-TH" sz="2800" u="sng" dirty="0">
                  <a:solidFill>
                    <a:srgbClr val="FF0000"/>
                  </a:solidFill>
                  <a:latin typeface="Angsana New" panose="02020603050405020304" pitchFamily="18" charset="-34"/>
                  <a:cs typeface="Angsana New" panose="02020603050405020304" pitchFamily="18" charset="-34"/>
                </a:rPr>
                <a:t>ทันต่อการเปลี่ยนแปลงและสร้างโอกาสทางการแข่งขัน</a:t>
              </a:r>
            </a:p>
          </p:txBody>
        </p:sp>
        <p:grpSp>
          <p:nvGrpSpPr>
            <p:cNvPr id="71" name="Group 70"/>
            <p:cNvGrpSpPr/>
            <p:nvPr/>
          </p:nvGrpSpPr>
          <p:grpSpPr>
            <a:xfrm>
              <a:off x="205963" y="1259422"/>
              <a:ext cx="5908655" cy="1432064"/>
              <a:chOff x="205963" y="1259422"/>
              <a:chExt cx="5908655" cy="1432064"/>
            </a:xfrm>
          </p:grpSpPr>
          <p:sp>
            <p:nvSpPr>
              <p:cNvPr id="73" name="Rounded Rectangle 72"/>
              <p:cNvSpPr/>
              <p:nvPr/>
            </p:nvSpPr>
            <p:spPr>
              <a:xfrm>
                <a:off x="344039" y="1259422"/>
                <a:ext cx="5770579" cy="1432064"/>
              </a:xfrm>
              <a:prstGeom prst="roundRect">
                <a:avLst>
                  <a:gd name="adj" fmla="val 40104"/>
                </a:avLst>
              </a:prstGeom>
              <a:noFill/>
              <a:ln>
                <a:gradFill flip="none" rotWithShape="1">
                  <a:gsLst>
                    <a:gs pos="0">
                      <a:schemeClr val="tx2"/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00" b="1" dirty="0">
                  <a:solidFill>
                    <a:prstClr val="black"/>
                  </a:solidFill>
                  <a:latin typeface="Angsana New" panose="02020603050405020304" pitchFamily="18" charset="-34"/>
                  <a:cs typeface="Angsana New" panose="02020603050405020304" pitchFamily="18" charset="-34"/>
                </a:endParaRPr>
              </a:p>
            </p:txBody>
          </p:sp>
          <p:sp>
            <p:nvSpPr>
              <p:cNvPr id="74" name="Oval 73"/>
              <p:cNvSpPr/>
              <p:nvPr/>
            </p:nvSpPr>
            <p:spPr>
              <a:xfrm>
                <a:off x="205963" y="1784593"/>
                <a:ext cx="377228" cy="373493"/>
              </a:xfrm>
              <a:prstGeom prst="ellipse">
                <a:avLst/>
              </a:prstGeom>
              <a:gradFill flip="none" rotWithShape="1">
                <a:gsLst>
                  <a:gs pos="75000">
                    <a:schemeClr val="tx2"/>
                  </a:gs>
                  <a:gs pos="0">
                    <a:schemeClr val="bg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00" b="1">
                  <a:solidFill>
                    <a:prstClr val="white"/>
                  </a:solidFill>
                  <a:latin typeface="Angsana New" panose="02020603050405020304" pitchFamily="18" charset="-34"/>
                  <a:cs typeface="Angsana New" panose="02020603050405020304" pitchFamily="18" charset="-34"/>
                </a:endParaRPr>
              </a:p>
            </p:txBody>
          </p:sp>
        </p:grpSp>
      </p:grpSp>
      <p:pic>
        <p:nvPicPr>
          <p:cNvPr id="48" name="Picture 2" descr="\\psf\Home\Downloads\ภาพประกอบ slide\Mission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9400" y="-133380"/>
            <a:ext cx="3200400" cy="1123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3596024" y="838200"/>
            <a:ext cx="17379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การสวัสดิการกองทัพเรือ 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53816" y="5758934"/>
            <a:ext cx="8361584" cy="92333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th-TH" b="1" dirty="0" smtClean="0">
                <a:solidFill>
                  <a:srgbClr val="C00000"/>
                </a:solidFill>
              </a:rPr>
              <a:t>ข้อสังเกต/ คำถาม</a:t>
            </a:r>
            <a:endParaRPr lang="en-US" b="1" dirty="0" smtClean="0">
              <a:solidFill>
                <a:srgbClr val="C00000"/>
              </a:solidFill>
            </a:endParaRPr>
          </a:p>
          <a:p>
            <a:pPr marL="342900" indent="-342900">
              <a:buAutoNum type="arabicParenR"/>
            </a:pPr>
            <a:r>
              <a:rPr lang="en-US" b="1" dirty="0" smtClean="0">
                <a:solidFill>
                  <a:srgbClr val="C00000"/>
                </a:solidFill>
              </a:rPr>
              <a:t>Mission </a:t>
            </a:r>
            <a:r>
              <a:rPr lang="th-TH" b="1" dirty="0" smtClean="0">
                <a:solidFill>
                  <a:srgbClr val="C00000"/>
                </a:solidFill>
              </a:rPr>
              <a:t>คือ สิ่งที่ประกาศแล้ว ไม่ทำไม่ได้ หากไม่ทำจะผิดกฎหมาย </a:t>
            </a:r>
          </a:p>
          <a:p>
            <a:pPr marL="342900" indent="-342900">
              <a:buAutoNum type="arabicParenR"/>
            </a:pPr>
            <a:r>
              <a:rPr lang="th-TH" b="1" dirty="0" smtClean="0">
                <a:solidFill>
                  <a:srgbClr val="C00000"/>
                </a:solidFill>
              </a:rPr>
              <a:t>การกำหนด </a:t>
            </a:r>
            <a:r>
              <a:rPr lang="en-US" b="1" dirty="0" smtClean="0">
                <a:solidFill>
                  <a:srgbClr val="C00000"/>
                </a:solidFill>
              </a:rPr>
              <a:t>Mission </a:t>
            </a:r>
            <a:r>
              <a:rPr lang="th-TH" b="1" dirty="0" smtClean="0">
                <a:solidFill>
                  <a:srgbClr val="C00000"/>
                </a:solidFill>
              </a:rPr>
              <a:t>ดังกล่าวข้างต้น เป็น </a:t>
            </a:r>
            <a:r>
              <a:rPr lang="en-US" b="1" dirty="0" smtClean="0">
                <a:solidFill>
                  <a:srgbClr val="C00000"/>
                </a:solidFill>
              </a:rPr>
              <a:t>Mission + </a:t>
            </a:r>
            <a:r>
              <a:rPr lang="th-TH" b="1" dirty="0" smtClean="0">
                <a:solidFill>
                  <a:srgbClr val="C00000"/>
                </a:solidFill>
              </a:rPr>
              <a:t>เป้าหมาย ที่ท้าทาย จะคง </a:t>
            </a:r>
            <a:r>
              <a:rPr lang="en-US" b="1" dirty="0" smtClean="0">
                <a:solidFill>
                  <a:srgbClr val="C00000"/>
                </a:solidFill>
              </a:rPr>
              <a:t>Mission </a:t>
            </a:r>
            <a:r>
              <a:rPr lang="th-TH" b="1" dirty="0" smtClean="0">
                <a:solidFill>
                  <a:srgbClr val="C00000"/>
                </a:solidFill>
              </a:rPr>
              <a:t>ไว้เช่นเดิมหรือไม่?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354600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>
            <a:normAutofit/>
          </a:bodyPr>
          <a:lstStyle/>
          <a:p>
            <a:r>
              <a:rPr lang="th-TH" sz="48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ประเด็นยุทธศาสตร์</a:t>
            </a:r>
            <a:endParaRPr lang="en-US" sz="4800" b="1" dirty="0">
              <a:latin typeface="TH Sarabun New" panose="020B0500040200020003" pitchFamily="34" charset="-34"/>
              <a:cs typeface="TH Sarabun New" panose="020B0500040200020003" pitchFamily="34" charset="-34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990600"/>
            <a:ext cx="8229600" cy="4525963"/>
          </a:xfr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th-TH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ยุทธศาสตร์ที</a:t>
            </a:r>
            <a:r>
              <a:rPr lang="th-TH" b="1" dirty="0">
                <a:latin typeface="TH Sarabun New" panose="020B0500040200020003" pitchFamily="34" charset="-34"/>
                <a:cs typeface="TH Sarabun New" panose="020B0500040200020003" pitchFamily="34" charset="-34"/>
              </a:rPr>
              <a:t>่</a:t>
            </a:r>
            <a:r>
              <a:rPr lang="th-TH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 </a:t>
            </a:r>
            <a:r>
              <a:rPr lang="th-TH" b="1" dirty="0">
                <a:latin typeface="TH Sarabun New" panose="020B0500040200020003" pitchFamily="34" charset="-34"/>
                <a:cs typeface="TH Sarabun New" panose="020B0500040200020003" pitchFamily="34" charset="-34"/>
              </a:rPr>
              <a:t>1 </a:t>
            </a:r>
            <a:r>
              <a:rPr lang="th-TH" dirty="0">
                <a:solidFill>
                  <a:srgbClr val="C0000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คุณภาพการให้บริการ</a:t>
            </a:r>
            <a:r>
              <a:rPr lang="th-TH" dirty="0">
                <a:latin typeface="TH Sarabun New" panose="020B0500040200020003" pitchFamily="34" charset="-34"/>
                <a:cs typeface="TH Sarabun New" panose="020B0500040200020003" pitchFamily="34" charset="-34"/>
              </a:rPr>
              <a:t>รองรับ</a:t>
            </a:r>
            <a:r>
              <a:rPr lang="th-TH" b="1" dirty="0">
                <a:solidFill>
                  <a:srgbClr val="0070C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การ</a:t>
            </a:r>
            <a:r>
              <a:rPr lang="th-TH" b="1" dirty="0" smtClean="0">
                <a:solidFill>
                  <a:srgbClr val="0070C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ขยายตัวทางเศรษฐกิจ </a:t>
            </a:r>
            <a:r>
              <a:rPr lang="th-TH" b="1" dirty="0">
                <a:solidFill>
                  <a:srgbClr val="0070C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และความก้าวหน้าทางเทคโนโลยี</a:t>
            </a:r>
          </a:p>
          <a:p>
            <a:pPr marL="0" indent="0">
              <a:buNone/>
            </a:pPr>
            <a:r>
              <a:rPr lang="th-TH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ยุทธศาสตร์</a:t>
            </a:r>
            <a:r>
              <a:rPr lang="th-TH" b="1" dirty="0">
                <a:latin typeface="TH Sarabun New" panose="020B0500040200020003" pitchFamily="34" charset="-34"/>
                <a:cs typeface="TH Sarabun New" panose="020B0500040200020003" pitchFamily="34" charset="-34"/>
              </a:rPr>
              <a:t>ที่ 2 </a:t>
            </a:r>
            <a:r>
              <a:rPr lang="th-TH" dirty="0">
                <a:latin typeface="TH Sarabun New" panose="020B0500040200020003" pitchFamily="34" charset="-34"/>
                <a:cs typeface="TH Sarabun New" panose="020B0500040200020003" pitchFamily="34" charset="-34"/>
              </a:rPr>
              <a:t>เสริมสร้าง</a:t>
            </a:r>
            <a:r>
              <a:rPr lang="th-TH" b="1" dirty="0">
                <a:solidFill>
                  <a:srgbClr val="C0000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ความมั่นคงและคุณภาพชีวิตที่ดี</a:t>
            </a:r>
            <a:r>
              <a:rPr lang="th-TH" dirty="0">
                <a:latin typeface="TH Sarabun New" panose="020B0500040200020003" pitchFamily="34" charset="-34"/>
                <a:cs typeface="TH Sarabun New" panose="020B0500040200020003" pitchFamily="34" charset="-34"/>
              </a:rPr>
              <a:t>ของข้าราชการและครอบครัว</a:t>
            </a:r>
          </a:p>
          <a:p>
            <a:pPr marL="0" indent="0">
              <a:buNone/>
            </a:pPr>
            <a:r>
              <a:rPr lang="th-TH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ยุทธศาสตร์</a:t>
            </a:r>
            <a:r>
              <a:rPr lang="th-TH" b="1" dirty="0">
                <a:latin typeface="TH Sarabun New" panose="020B0500040200020003" pitchFamily="34" charset="-34"/>
                <a:cs typeface="TH Sarabun New" panose="020B0500040200020003" pitchFamily="34" charset="-34"/>
              </a:rPr>
              <a:t>ที่ </a:t>
            </a:r>
            <a:r>
              <a:rPr lang="th-TH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3 </a:t>
            </a:r>
            <a:r>
              <a:rPr lang="th-TH" dirty="0" smtClean="0">
                <a:solidFill>
                  <a:srgbClr val="C0000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ปรับปรุง</a:t>
            </a:r>
            <a:r>
              <a:rPr lang="th-TH" dirty="0">
                <a:solidFill>
                  <a:srgbClr val="C0000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และเพิ่มประสิทธิภาพของกระบวนการให้บริการ</a:t>
            </a:r>
            <a:r>
              <a:rPr lang="th-TH" dirty="0">
                <a:latin typeface="TH Sarabun New" panose="020B0500040200020003" pitchFamily="34" charset="-34"/>
                <a:cs typeface="TH Sarabun New" panose="020B0500040200020003" pitchFamily="34" charset="-34"/>
              </a:rPr>
              <a:t>ให้มี</a:t>
            </a:r>
            <a:r>
              <a:rPr lang="th-TH" b="1" dirty="0">
                <a:solidFill>
                  <a:srgbClr val="0070C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มาตรฐานเพื่อสร้างโอกาสการแข่งขัน</a:t>
            </a:r>
          </a:p>
          <a:p>
            <a:pPr marL="0" indent="0">
              <a:buNone/>
            </a:pPr>
            <a:r>
              <a:rPr lang="th-TH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ยุทธศาสตร์</a:t>
            </a:r>
            <a:r>
              <a:rPr lang="th-TH" b="1" dirty="0">
                <a:latin typeface="TH Sarabun New" panose="020B0500040200020003" pitchFamily="34" charset="-34"/>
                <a:cs typeface="TH Sarabun New" panose="020B0500040200020003" pitchFamily="34" charset="-34"/>
              </a:rPr>
              <a:t>ที่4 </a:t>
            </a:r>
            <a:r>
              <a:rPr lang="th-TH" dirty="0">
                <a:solidFill>
                  <a:srgbClr val="C0000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ส่งเสริมความรู้ ของ</a:t>
            </a:r>
            <a:r>
              <a:rPr lang="th-TH" dirty="0" smtClean="0">
                <a:solidFill>
                  <a:srgbClr val="C0000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บุคลากร</a:t>
            </a:r>
            <a:r>
              <a:rPr lang="th-TH" dirty="0">
                <a:solidFill>
                  <a:srgbClr val="C0000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สร้างความชำนาญ</a:t>
            </a:r>
            <a:r>
              <a:rPr lang="th-TH" dirty="0">
                <a:latin typeface="TH Sarabun New" panose="020B0500040200020003" pitchFamily="34" charset="-34"/>
                <a:cs typeface="TH Sarabun New" panose="020B0500040200020003" pitchFamily="34" charset="-34"/>
              </a:rPr>
              <a:t>งานบริการ และการบริหารเชิงธุรกิจ</a:t>
            </a:r>
            <a:r>
              <a:rPr lang="th-TH" b="1" dirty="0">
                <a:solidFill>
                  <a:srgbClr val="0070C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รองรับการเปลี่ยนแปลง</a:t>
            </a:r>
            <a:endParaRPr lang="en-US" b="1" dirty="0">
              <a:solidFill>
                <a:srgbClr val="0070C0"/>
              </a:solidFill>
              <a:latin typeface="TH Sarabun New" panose="020B0500040200020003" pitchFamily="34" charset="-34"/>
              <a:cs typeface="TH Sarabun New" panose="020B0500040200020003" pitchFamily="34" charset="-34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29194" y="5562600"/>
            <a:ext cx="8233806" cy="120032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th-TH" b="1" dirty="0" smtClean="0">
                <a:solidFill>
                  <a:srgbClr val="C00000"/>
                </a:solidFill>
              </a:rPr>
              <a:t>ข้อสังเกต/ คำถาม</a:t>
            </a:r>
            <a:endParaRPr lang="en-US" b="1" dirty="0" smtClean="0">
              <a:solidFill>
                <a:srgbClr val="C00000"/>
              </a:solidFill>
            </a:endParaRPr>
          </a:p>
          <a:p>
            <a:pPr marL="342900" indent="-342900">
              <a:buAutoNum type="arabicParenR"/>
            </a:pPr>
            <a:r>
              <a:rPr lang="th-TH" b="1" dirty="0" smtClean="0">
                <a:solidFill>
                  <a:srgbClr val="C00000"/>
                </a:solidFill>
              </a:rPr>
              <a:t>ข้อความดังกล่าวข้างต้น  เป็น ประเด็นยุทธศาสตร์ หรือ ยุทธศาสตร์???? </a:t>
            </a:r>
          </a:p>
          <a:p>
            <a:pPr marL="342900" indent="-342900">
              <a:buAutoNum type="arabicParenR"/>
            </a:pPr>
            <a:r>
              <a:rPr lang="th-TH" b="1" dirty="0" smtClean="0">
                <a:solidFill>
                  <a:srgbClr val="C00000"/>
                </a:solidFill>
              </a:rPr>
              <a:t>ยุทธศาตร์ที่ </a:t>
            </a:r>
            <a:r>
              <a:rPr lang="en-US" b="1" dirty="0" smtClean="0">
                <a:solidFill>
                  <a:srgbClr val="C00000"/>
                </a:solidFill>
              </a:rPr>
              <a:t>1 </a:t>
            </a:r>
            <a:r>
              <a:rPr lang="th-TH" b="1" dirty="0" smtClean="0">
                <a:solidFill>
                  <a:srgbClr val="C00000"/>
                </a:solidFill>
              </a:rPr>
              <a:t>ยังไม่ใช่ </a:t>
            </a:r>
            <a:r>
              <a:rPr lang="en-US" b="1" dirty="0" smtClean="0">
                <a:solidFill>
                  <a:srgbClr val="C00000"/>
                </a:solidFill>
              </a:rPr>
              <a:t>Action </a:t>
            </a:r>
            <a:r>
              <a:rPr lang="th-TH" b="1" dirty="0" smtClean="0">
                <a:solidFill>
                  <a:srgbClr val="C00000"/>
                </a:solidFill>
              </a:rPr>
              <a:t>แต่เป็นคำนาม? ควรปรับหรือไม่ ?</a:t>
            </a:r>
          </a:p>
          <a:p>
            <a:pPr marL="342900" indent="-342900">
              <a:buAutoNum type="arabicParenR"/>
            </a:pPr>
            <a:r>
              <a:rPr lang="th-TH" b="1" dirty="0" smtClean="0">
                <a:solidFill>
                  <a:srgbClr val="C00000"/>
                </a:solidFill>
              </a:rPr>
              <a:t>ยุทธศาสตร์ที่ </a:t>
            </a:r>
            <a:r>
              <a:rPr lang="en-US" b="1" dirty="0" smtClean="0">
                <a:solidFill>
                  <a:srgbClr val="C00000"/>
                </a:solidFill>
              </a:rPr>
              <a:t>1 </a:t>
            </a:r>
            <a:r>
              <a:rPr lang="th-TH" b="1" dirty="0" smtClean="0">
                <a:solidFill>
                  <a:srgbClr val="C00000"/>
                </a:solidFill>
              </a:rPr>
              <a:t>และ ยุทธศาสตร์ที่ </a:t>
            </a:r>
            <a:r>
              <a:rPr lang="en-US" b="1" dirty="0" smtClean="0">
                <a:solidFill>
                  <a:srgbClr val="C00000"/>
                </a:solidFill>
              </a:rPr>
              <a:t>3 </a:t>
            </a:r>
            <a:r>
              <a:rPr lang="th-TH" b="1" dirty="0" smtClean="0">
                <a:solidFill>
                  <a:srgbClr val="C00000"/>
                </a:solidFill>
              </a:rPr>
              <a:t>เหมือนกัน หรือ ต่างกันอย่างไร?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753993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685800"/>
          </a:xfrm>
        </p:spPr>
        <p:txBody>
          <a:bodyPr>
            <a:normAutofit fontScale="90000"/>
          </a:bodyPr>
          <a:lstStyle/>
          <a:p>
            <a:pPr algn="ctr"/>
            <a:r>
              <a:rPr lang="th-TH" sz="4800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เป้าประสงค์</a:t>
            </a:r>
            <a:endParaRPr lang="en-US" sz="4800" b="1" dirty="0">
              <a:latin typeface="TH Sarabun New" panose="020B0500040200020003" pitchFamily="34" charset="-34"/>
              <a:cs typeface="TH Sarabun New" panose="020B0500040200020003" pitchFamily="34" charset="-34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81000" y="685800"/>
            <a:ext cx="8534400" cy="5632311"/>
          </a:xfrm>
          <a:prstGeom prst="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th-TH" sz="36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1. การ</a:t>
            </a:r>
            <a:r>
              <a:rPr lang="th-TH" sz="36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เพิ่มหรือขยายตัวของกิจการในสวัสดิการ เพื่อรองรับการขยายตัวทางเศรษฐกิจ ความก้าวหน้าทางเทคโนโลยี และสังคมผู้สูงอายุ</a:t>
            </a:r>
          </a:p>
          <a:p>
            <a:r>
              <a:rPr lang="th-TH" sz="36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2. ข้าราชการ</a:t>
            </a:r>
            <a:r>
              <a:rPr lang="th-TH" sz="36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และครอบครัวได้รับการเสริมสร้างคุณภาพชีวิตที่ดี</a:t>
            </a:r>
          </a:p>
          <a:p>
            <a:r>
              <a:rPr lang="th-TH" sz="36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3. บริการ</a:t>
            </a:r>
            <a:r>
              <a:rPr lang="th-TH" sz="36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ของกิจการในสวัสดิการที่เป็นมาตรฐาน</a:t>
            </a:r>
          </a:p>
          <a:p>
            <a:r>
              <a:rPr lang="th-TH" sz="36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4. บุคลากร</a:t>
            </a:r>
            <a:r>
              <a:rPr lang="th-TH" sz="36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ที่มีความชำนาญในงานบริการและบริหารเชิงธุรกิจ</a:t>
            </a:r>
          </a:p>
          <a:p>
            <a:r>
              <a:rPr lang="th-TH" sz="36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5. ข้าราชการ</a:t>
            </a:r>
            <a:r>
              <a:rPr lang="th-TH" sz="36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และครอบครัว หรือ ผู้รับบริการภายนอกมีความพึงพอใจในบริการของกิจการ</a:t>
            </a:r>
          </a:p>
          <a:p>
            <a:r>
              <a:rPr lang="th-TH" sz="36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6. </a:t>
            </a:r>
            <a:r>
              <a:rPr lang="th-TH" sz="36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กิจการ</a:t>
            </a:r>
            <a:r>
              <a:rPr lang="th-TH" sz="36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ที่เพิ่มเติมหรือขยายตัวเป็นไปตามแผนที่กำหนด</a:t>
            </a:r>
          </a:p>
          <a:p>
            <a:r>
              <a:rPr lang="th-TH" sz="36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7. เครือข่าย</a:t>
            </a:r>
            <a:r>
              <a:rPr lang="th-TH" sz="36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ความร่วมมือที่มี</a:t>
            </a:r>
            <a:r>
              <a:rPr lang="th-TH" sz="36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ประสิทธิภาพ</a:t>
            </a:r>
            <a:endParaRPr lang="th-TH" sz="3600" b="1" dirty="0" smtClean="0">
              <a:latin typeface="TH Sarabun New" panose="020B0500040200020003" pitchFamily="34" charset="-34"/>
              <a:cs typeface="TH Sarabun New" panose="020B05000402000200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523520274"/>
      </p:ext>
    </p:extLst>
  </p:cSld>
  <p:clrMapOvr>
    <a:masterClrMapping/>
  </p:clrMapOvr>
  <p:transition>
    <p:strips dir="r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685800"/>
          </a:xfrm>
        </p:spPr>
        <p:txBody>
          <a:bodyPr>
            <a:normAutofit fontScale="90000"/>
          </a:bodyPr>
          <a:lstStyle/>
          <a:p>
            <a:pPr algn="ctr"/>
            <a:r>
              <a:rPr lang="th-TH" sz="4800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เป้าประสงค์</a:t>
            </a:r>
            <a:endParaRPr lang="en-US" sz="4800" b="1" dirty="0">
              <a:latin typeface="TH Sarabun New" panose="020B0500040200020003" pitchFamily="34" charset="-34"/>
              <a:cs typeface="TH Sarabun New" panose="020B0500040200020003" pitchFamily="34" charset="-34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81000" y="685800"/>
            <a:ext cx="8534400" cy="5632311"/>
          </a:xfrm>
          <a:prstGeom prst="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th-TH" sz="40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8. การบริการที่ยึดความถูกต้องมีคุณธรรม และความซื่อสัตย์</a:t>
            </a:r>
          </a:p>
          <a:p>
            <a:r>
              <a:rPr lang="th-TH" sz="4000" b="1" dirty="0">
                <a:latin typeface="TH Sarabun New" panose="020B0500040200020003" pitchFamily="34" charset="-34"/>
                <a:cs typeface="TH Sarabun New" panose="020B0500040200020003" pitchFamily="34" charset="-34"/>
              </a:rPr>
              <a:t>9</a:t>
            </a:r>
            <a:r>
              <a:rPr lang="th-TH" sz="40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. การ</a:t>
            </a:r>
            <a:r>
              <a:rPr lang="th-TH" sz="40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มีคู่มือในการให้บริการและการบริหารงานกิจการ</a:t>
            </a:r>
          </a:p>
          <a:p>
            <a:r>
              <a:rPr lang="th-TH" sz="40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10</a:t>
            </a:r>
            <a:r>
              <a:rPr lang="th-TH" sz="40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. การ</a:t>
            </a:r>
            <a:r>
              <a:rPr lang="th-TH" sz="40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บริหารงานที่มีธรรมาภิบาล</a:t>
            </a:r>
          </a:p>
          <a:p>
            <a:r>
              <a:rPr lang="th-TH" sz="40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11. ระบบ</a:t>
            </a:r>
            <a:r>
              <a:rPr lang="th-TH" sz="40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การบริหารงานที่มีประสิทธิภาพ</a:t>
            </a:r>
          </a:p>
          <a:p>
            <a:r>
              <a:rPr lang="th-TH" sz="40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12. ระบบ</a:t>
            </a:r>
            <a:r>
              <a:rPr lang="th-TH" sz="40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ฐานข้อมูล และเทคโนโลยีสารสนเทศที่ทันสมัย เพื่อนำมาใช้ในการดำเนินงานของกิจการ</a:t>
            </a:r>
          </a:p>
          <a:p>
            <a:r>
              <a:rPr lang="th-TH" sz="40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13. บุคลากร</a:t>
            </a:r>
            <a:r>
              <a:rPr lang="th-TH" sz="40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มีสมรรถนะ ขวัญ กำลังใจ ในการปฏิบัติงาน</a:t>
            </a:r>
          </a:p>
          <a:p>
            <a:r>
              <a:rPr lang="th-TH" sz="40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14. อาคาร</a:t>
            </a:r>
            <a:r>
              <a:rPr lang="th-TH" sz="40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สถานที่ อุปกรณ์ และสิ่งอำนวยความสะดวก มีจำนวนเพียงพอต่อการดำเนินงานได้อย่างมีประสิทธิภาพ</a:t>
            </a:r>
            <a:endParaRPr lang="en-US" sz="4000" b="1" dirty="0">
              <a:latin typeface="TH Sarabun New" panose="020B0500040200020003" pitchFamily="34" charset="-34"/>
              <a:cs typeface="TH Sarabun New" panose="020B05000402000200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366982661"/>
      </p:ext>
    </p:extLst>
  </p:cSld>
  <p:clrMapOvr>
    <a:masterClrMapping/>
  </p:clrMapOvr>
  <p:transition>
    <p:strips dir="r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3810000" cy="685800"/>
          </a:xfrm>
        </p:spPr>
        <p:txBody>
          <a:bodyPr>
            <a:normAutofit fontScale="90000"/>
          </a:bodyPr>
          <a:lstStyle/>
          <a:p>
            <a:r>
              <a:rPr lang="th-TH" sz="4800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เป้าประสงค์ </a:t>
            </a:r>
            <a:r>
              <a:rPr lang="th-TH" sz="3600" dirty="0" smtClean="0">
                <a:solidFill>
                  <a:srgbClr val="FF000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(จัดกลุ่ม)</a:t>
            </a:r>
            <a:endParaRPr lang="en-US" sz="3600" b="1" dirty="0">
              <a:solidFill>
                <a:srgbClr val="FF0000"/>
              </a:solidFill>
              <a:latin typeface="TH Sarabun New" panose="020B0500040200020003" pitchFamily="34" charset="-34"/>
              <a:cs typeface="TH Sarabun New" panose="020B0500040200020003" pitchFamily="34" charset="-34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81000" y="685800"/>
            <a:ext cx="8534400" cy="6001643"/>
          </a:xfrm>
          <a:prstGeom prst="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arenR"/>
            </a:pPr>
            <a:r>
              <a:rPr lang="th-TH" sz="2400" b="1" dirty="0" smtClean="0">
                <a:solidFill>
                  <a:srgbClr val="00B0F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การเพิ่มหรือขยายตัวของกิจการในสวัสดิการ เพื่อรองรับการขยายตัวทางเศรษฐกิจ ความก้าวหน้าทางเทคโนโลยี และสังคมผู้สูงอายุ</a:t>
            </a:r>
          </a:p>
          <a:p>
            <a:pPr marL="342900" indent="-342900">
              <a:buFont typeface="+mj-lt"/>
              <a:buAutoNum type="arabicParenR"/>
            </a:pPr>
            <a:r>
              <a:rPr lang="th-TH" sz="2400" b="1" dirty="0" smtClean="0">
                <a:solidFill>
                  <a:srgbClr val="00B0F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กิจการที่เพิ่มเติมหรือขยายตัวเป็นไปตามแผนที่กำหนด</a:t>
            </a:r>
          </a:p>
          <a:p>
            <a:pPr marL="342900" indent="-342900">
              <a:buFont typeface="+mj-lt"/>
              <a:buAutoNum type="arabicParenR"/>
            </a:pPr>
            <a:r>
              <a:rPr lang="th-TH" sz="2400" b="1" dirty="0" smtClean="0">
                <a:solidFill>
                  <a:srgbClr val="00B05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ข้าราชการและครอบครัวได้รับการเสริมสร้างคุณภาพชีวิตที่ดี</a:t>
            </a:r>
          </a:p>
          <a:p>
            <a:pPr marL="342900" indent="-342900">
              <a:buFont typeface="+mj-lt"/>
              <a:buAutoNum type="arabicParenR"/>
            </a:pPr>
            <a:r>
              <a:rPr lang="th-TH" sz="2400" b="1" dirty="0" smtClean="0">
                <a:solidFill>
                  <a:srgbClr val="00B05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ข้าราชการและครอบครัว หรือ ผู้รับบริการภายนอกมีความพึงพอใจในบริการของกิจการ</a:t>
            </a:r>
          </a:p>
          <a:p>
            <a:pPr marL="342900" indent="-342900">
              <a:buFont typeface="+mj-lt"/>
              <a:buAutoNum type="arabicParenR"/>
            </a:pPr>
            <a:r>
              <a:rPr lang="th-TH" sz="2400" b="1" dirty="0" smtClean="0">
                <a:solidFill>
                  <a:srgbClr val="00B05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บุคลากรที่มีความชำนาญในงานบริการและบริหารเชิงธุรกิจ</a:t>
            </a:r>
          </a:p>
          <a:p>
            <a:pPr marL="342900" indent="-342900">
              <a:buFont typeface="+mj-lt"/>
              <a:buAutoNum type="arabicParenR"/>
            </a:pPr>
            <a:r>
              <a:rPr lang="th-TH" sz="2400" b="1" dirty="0" smtClean="0">
                <a:solidFill>
                  <a:srgbClr val="00B05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บุคลากรมีสมรรถนะ ขวัญ กำลังใจ ในการปฏิบัติงาน</a:t>
            </a:r>
          </a:p>
          <a:p>
            <a:pPr marL="342900" indent="-342900">
              <a:buFont typeface="+mj-lt"/>
              <a:buAutoNum type="arabicParenR"/>
            </a:pPr>
            <a:r>
              <a:rPr lang="th-TH" sz="2400" b="1" dirty="0" smtClean="0">
                <a:solidFill>
                  <a:srgbClr val="FF66FF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บริการของกิจการในสวัสดิการที่เป็นมาตรฐาน</a:t>
            </a:r>
          </a:p>
          <a:p>
            <a:pPr marL="342900" indent="-342900">
              <a:buFont typeface="+mj-lt"/>
              <a:buAutoNum type="arabicParenR"/>
            </a:pPr>
            <a:r>
              <a:rPr lang="th-TH" sz="2400" b="1" dirty="0" smtClean="0">
                <a:solidFill>
                  <a:srgbClr val="FF66FF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การบริการที่ยึดความถูกต้องมีคุณธรรม และความซื่อสัตย์</a:t>
            </a:r>
          </a:p>
          <a:p>
            <a:pPr marL="342900" indent="-342900">
              <a:buFont typeface="+mj-lt"/>
              <a:buAutoNum type="arabicParenR"/>
            </a:pPr>
            <a:r>
              <a:rPr lang="th-TH" sz="2400" b="1" dirty="0" smtClean="0">
                <a:solidFill>
                  <a:schemeClr val="accent4">
                    <a:lumMod val="50000"/>
                  </a:schemeClr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การบริหารงานที่มีธรรมาภิบาล</a:t>
            </a:r>
          </a:p>
          <a:p>
            <a:pPr marL="342900" indent="-342900">
              <a:buFont typeface="+mj-lt"/>
              <a:buAutoNum type="arabicParenR"/>
            </a:pPr>
            <a:r>
              <a:rPr lang="th-TH" sz="2400" b="1" dirty="0" smtClean="0">
                <a:solidFill>
                  <a:schemeClr val="accent4">
                    <a:lumMod val="50000"/>
                  </a:schemeClr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ระบบการบริหารงานที่มีประสิทธิภาพ</a:t>
            </a:r>
          </a:p>
          <a:p>
            <a:pPr marL="342900" indent="-342900">
              <a:buFont typeface="+mj-lt"/>
              <a:buAutoNum type="arabicParenR"/>
            </a:pPr>
            <a:r>
              <a:rPr lang="th-TH" sz="2400" b="1" dirty="0" smtClean="0">
                <a:solidFill>
                  <a:schemeClr val="accent4">
                    <a:lumMod val="50000"/>
                  </a:schemeClr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การมีคู่มือในการให้บริการและการบริหารงานกิจการ</a:t>
            </a:r>
          </a:p>
          <a:p>
            <a:pPr marL="342900" indent="-342900">
              <a:buFont typeface="+mj-lt"/>
              <a:buAutoNum type="arabicParenR"/>
            </a:pPr>
            <a:r>
              <a:rPr lang="th-TH" sz="2400" b="1" dirty="0" smtClean="0">
                <a:solidFill>
                  <a:srgbClr val="7030A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ระบบฐานข้อมูล และเทคโนโลยีสารสนเทศที่ทันสมัย เพื่อนำมาใช้ในการดำเนินงานของกิจการ</a:t>
            </a:r>
          </a:p>
          <a:p>
            <a:pPr marL="342900" indent="-342900">
              <a:buFont typeface="+mj-lt"/>
              <a:buAutoNum type="arabicParenR"/>
            </a:pPr>
            <a:r>
              <a:rPr lang="th-TH" sz="2400" b="1" dirty="0" smtClean="0">
                <a:solidFill>
                  <a:srgbClr val="7030A0"/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อาคารสถานที่ อุปกรณ์ และสิ่งอำนวยความสะดวก มีจำนวนเพียงพอต่อการดำเนินงานได้อย่างมีประสิทธิภาพ</a:t>
            </a:r>
          </a:p>
          <a:p>
            <a:pPr marL="342900" indent="-342900">
              <a:buFont typeface="+mj-lt"/>
              <a:buAutoNum type="arabicParenR"/>
            </a:pPr>
            <a:r>
              <a:rPr lang="th-TH" sz="2400" b="1" dirty="0" smtClean="0">
                <a:latin typeface="TH Sarabun New" panose="020B0500040200020003" pitchFamily="34" charset="-34"/>
                <a:cs typeface="TH Sarabun New" panose="020B0500040200020003" pitchFamily="34" charset="-34"/>
              </a:rPr>
              <a:t>เครือข่ายความร่วมมือที่มีประสิทธิภาพ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934200" y="1133341"/>
            <a:ext cx="1717670" cy="408623"/>
          </a:xfrm>
          <a:prstGeom prst="roundRect">
            <a:avLst/>
          </a:prstGeom>
          <a:solidFill>
            <a:srgbClr val="00B0F0"/>
          </a:solidFill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Core Busines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925614" y="2514600"/>
            <a:ext cx="936384" cy="510778"/>
          </a:xfrm>
          <a:prstGeom prst="roundRect">
            <a:avLst/>
          </a:prstGeom>
          <a:solidFill>
            <a:srgbClr val="00B050"/>
          </a:solidFill>
        </p:spPr>
        <p:txBody>
          <a:bodyPr wrap="none" rtlCol="0">
            <a:spAutoFit/>
          </a:bodyPr>
          <a:lstStyle/>
          <a:p>
            <a:r>
              <a:rPr lang="th-TH" sz="2400" b="1" dirty="0" smtClean="0">
                <a:solidFill>
                  <a:schemeClr val="bg1"/>
                </a:solidFill>
              </a:rPr>
              <a:t>บุคลากร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925060" y="3352800"/>
            <a:ext cx="790685" cy="510778"/>
          </a:xfrm>
          <a:prstGeom prst="roundRect">
            <a:avLst/>
          </a:prstGeom>
          <a:solidFill>
            <a:srgbClr val="FF66FF"/>
          </a:solidFill>
        </p:spPr>
        <p:txBody>
          <a:bodyPr wrap="none" rtlCol="0">
            <a:spAutoFit/>
          </a:bodyPr>
          <a:lstStyle/>
          <a:p>
            <a:r>
              <a:rPr lang="th-TH" sz="2400" b="1" dirty="0" smtClean="0">
                <a:solidFill>
                  <a:schemeClr val="bg1"/>
                </a:solidFill>
              </a:rPr>
              <a:t>บริการ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959404" y="4191000"/>
            <a:ext cx="805949" cy="510778"/>
          </a:xfrm>
          <a:prstGeom prst="round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th-TH" sz="2400" b="1" dirty="0" smtClean="0">
                <a:solidFill>
                  <a:schemeClr val="bg1"/>
                </a:solidFill>
              </a:rPr>
              <a:t>บริหาร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987086" y="5791200"/>
            <a:ext cx="1573965" cy="510778"/>
          </a:xfrm>
          <a:prstGeom prst="roundRect">
            <a:avLst/>
          </a:prstGeom>
          <a:solidFill>
            <a:srgbClr val="7030A0"/>
          </a:solidFill>
        </p:spPr>
        <p:txBody>
          <a:bodyPr wrap="none" rtlCol="0">
            <a:spAutoFit/>
          </a:bodyPr>
          <a:lstStyle/>
          <a:p>
            <a:r>
              <a:rPr lang="th-TH" sz="2400" b="1" dirty="0" smtClean="0">
                <a:solidFill>
                  <a:schemeClr val="bg1"/>
                </a:solidFill>
              </a:rPr>
              <a:t>เครื่องมือ/ข้อมูล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009158" y="6347222"/>
            <a:ext cx="991842" cy="510778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th-TH" sz="2400" b="1" dirty="0" smtClean="0">
                <a:solidFill>
                  <a:schemeClr val="bg1"/>
                </a:solidFill>
              </a:rPr>
              <a:t>เครือข่าย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3352800" y="39469"/>
            <a:ext cx="5562600" cy="71508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th-TH" b="1" dirty="0">
                <a:solidFill>
                  <a:prstClr val="black"/>
                </a:solidFill>
                <a:cs typeface="Angsana New"/>
              </a:rPr>
              <a:t>เป็น</a:t>
            </a:r>
            <a:r>
              <a:rPr lang="th-TH" b="1" u="sng" dirty="0">
                <a:solidFill>
                  <a:srgbClr val="0070C0"/>
                </a:solidFill>
                <a:cs typeface="Angsana New"/>
              </a:rPr>
              <a:t>องค์กรชั้นนำ</a:t>
            </a:r>
            <a:r>
              <a:rPr lang="th-TH" b="1" dirty="0">
                <a:solidFill>
                  <a:prstClr val="black"/>
                </a:solidFill>
                <a:cs typeface="Angsana New"/>
              </a:rPr>
              <a:t>ที่มีการ</a:t>
            </a:r>
            <a:r>
              <a:rPr lang="th-TH" b="1" u="sng" dirty="0">
                <a:solidFill>
                  <a:srgbClr val="0070C0"/>
                </a:solidFill>
                <a:cs typeface="Angsana New"/>
              </a:rPr>
              <a:t>บริหารจัดการสวัสดิการ</a:t>
            </a:r>
            <a:r>
              <a:rPr lang="th-TH" b="1" dirty="0">
                <a:solidFill>
                  <a:prstClr val="black"/>
                </a:solidFill>
                <a:cs typeface="Angsana New"/>
              </a:rPr>
              <a:t>ที่</a:t>
            </a:r>
            <a:r>
              <a:rPr lang="th-TH" b="1" u="sng" dirty="0">
                <a:solidFill>
                  <a:srgbClr val="0070C0"/>
                </a:solidFill>
                <a:cs typeface="Angsana New"/>
              </a:rPr>
              <a:t>มีประสิทธิภาพและยั่งยืน </a:t>
            </a:r>
            <a:r>
              <a:rPr lang="th-TH" b="1" dirty="0">
                <a:solidFill>
                  <a:prstClr val="black"/>
                </a:solidFill>
                <a:cs typeface="Angsana New"/>
              </a:rPr>
              <a:t>อย่างโปร่งใสด้วยหลักธรรมาภิบาล โดย</a:t>
            </a:r>
            <a:r>
              <a:rPr lang="th-TH" b="1" u="sng" dirty="0">
                <a:solidFill>
                  <a:srgbClr val="0070C0"/>
                </a:solidFill>
                <a:cs typeface="Angsana New"/>
              </a:rPr>
              <a:t>ยึดถือกำลังพลและครอบครัวเป็นศูนย์กลาง</a:t>
            </a:r>
            <a:endParaRPr lang="th-TH" b="1" u="sng" dirty="0">
              <a:solidFill>
                <a:srgbClr val="0070C0"/>
              </a:solidFill>
              <a:latin typeface="TH SarabunPSK" panose="020B0500040200020003" pitchFamily="34" charset="-34"/>
              <a:cs typeface="Angsana New"/>
            </a:endParaRPr>
          </a:p>
        </p:txBody>
      </p:sp>
    </p:spTree>
    <p:extLst>
      <p:ext uri="{BB962C8B-B14F-4D97-AF65-F5344CB8AC3E}">
        <p14:creationId xmlns:p14="http://schemas.microsoft.com/office/powerpoint/2010/main" val="3064730962"/>
      </p:ext>
    </p:extLst>
  </p:cSld>
  <p:clrMapOvr>
    <a:masterClrMapping/>
  </p:clrMapOvr>
  <p:transition>
    <p:strips dir="r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YD9aQSMUqJMk5ISYVq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YD9aQSMUqJMk5ISYVq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YD9aQSMUqJMk5ISYVq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YD9aQSMUqJMk5ISYVq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YD9aQSMUqJMk5ISYVq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YD9aQSMUqJMk5ISYVq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YD9aQSMUqJMk5ISYVq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YD9aQSMUqJMk5ISYVq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1_KMUTT Slide tha">
  <a:themeElements>
    <a:clrScheme name="KMUT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4612"/>
      </a:accent1>
      <a:accent2>
        <a:srgbClr val="FF8665"/>
      </a:accent2>
      <a:accent3>
        <a:srgbClr val="FFC627"/>
      </a:accent3>
      <a:accent4>
        <a:srgbClr val="FFDD7D"/>
      </a:accent4>
      <a:accent5>
        <a:srgbClr val="58595B"/>
      </a:accent5>
      <a:accent6>
        <a:srgbClr val="A4A5A6"/>
      </a:accent6>
      <a:hlink>
        <a:srgbClr val="FF4602"/>
      </a:hlink>
      <a:folHlink>
        <a:srgbClr val="999A9D"/>
      </a:folHlink>
    </a:clrScheme>
    <a:fontScheme name="KMUTT">
      <a:majorFont>
        <a:latin typeface="Open Sans"/>
        <a:ea typeface=""/>
        <a:cs typeface="Quark"/>
      </a:majorFont>
      <a:minorFont>
        <a:latin typeface="Open Sans"/>
        <a:ea typeface=""/>
        <a:cs typeface="TH Sarabun New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ชุดรูปแบบของ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เฉลียง">
  <a:themeElements>
    <a:clrScheme name="เฉลียง">
      <a:dk1>
        <a:sysClr val="windowText" lastClr="000000"/>
      </a:dk1>
      <a:lt1>
        <a:sysClr val="window" lastClr="FFFFFF"/>
      </a:lt1>
      <a:dk2>
        <a:srgbClr val="575F6D"/>
      </a:dk2>
      <a:lt2>
        <a:srgbClr val="FFF39D"/>
      </a:lt2>
      <a:accent1>
        <a:srgbClr val="FE8637"/>
      </a:accent1>
      <a:accent2>
        <a:srgbClr val="7598D9"/>
      </a:accent2>
      <a:accent3>
        <a:srgbClr val="B32C16"/>
      </a:accent3>
      <a:accent4>
        <a:srgbClr val="F5CD2D"/>
      </a:accent4>
      <a:accent5>
        <a:srgbClr val="AEBAD5"/>
      </a:accent5>
      <a:accent6>
        <a:srgbClr val="777C84"/>
      </a:accent6>
      <a:hlink>
        <a:srgbClr val="D2611C"/>
      </a:hlink>
      <a:folHlink>
        <a:srgbClr val="3B435B"/>
      </a:folHlink>
    </a:clrScheme>
    <a:fontScheme name="เฉลียง">
      <a:majorFont>
        <a:latin typeface="Century Schoolbook"/>
        <a:ea typeface=""/>
        <a:cs typeface=""/>
        <a:font script="Jpan" typeface="ＭＳ Ｐ明朝"/>
        <a:font script="Hang" typeface="휴먼매직체"/>
        <a:font script="Hans" typeface="华文楷体"/>
        <a:font script="Hant" typeface="新細明體"/>
        <a:font script="Arab" typeface="Times New Roman"/>
        <a:font script="Hebr" typeface="Times New Roman"/>
        <a:font script="Thai" typeface="Kodchiang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Schoolbook"/>
        <a:ea typeface=""/>
        <a:cs typeface=""/>
        <a:font script="Jpan" typeface="ＭＳ Ｐ明朝"/>
        <a:font script="Hang" typeface="휴먼매직체"/>
        <a:font script="Hans" typeface="宋体"/>
        <a:font script="Hant" typeface="新細明體"/>
        <a:font script="Arab" typeface="Times New Roman"/>
        <a:font script="Hebr" typeface="Times New Roman"/>
        <a:font script="Thai" typeface="Kodchiang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เฉลียง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60000"/>
              </a:schemeClr>
            </a:gs>
            <a:gs pos="30000">
              <a:schemeClr val="phClr">
                <a:tint val="38000"/>
                <a:satMod val="260000"/>
              </a:schemeClr>
            </a:gs>
            <a:gs pos="75000">
              <a:schemeClr val="phClr">
                <a:tint val="55000"/>
                <a:satMod val="255000"/>
              </a:schemeClr>
            </a:gs>
            <a:gs pos="100000">
              <a:schemeClr val="phClr">
                <a:tint val="70000"/>
                <a:satMod val="255000"/>
              </a:schemeClr>
            </a:gs>
          </a:gsLst>
          <a:path path="circle">
            <a:fillToRect l="5000" t="100000" r="120000" b="10000"/>
          </a:path>
        </a:gradFill>
        <a:gradFill rotWithShape="1">
          <a:gsLst>
            <a:gs pos="0">
              <a:schemeClr val="phClr">
                <a:shade val="63000"/>
                <a:satMod val="165000"/>
              </a:schemeClr>
            </a:gs>
            <a:gs pos="30000">
              <a:schemeClr val="phClr">
                <a:shade val="58000"/>
                <a:satMod val="165000"/>
              </a:schemeClr>
            </a:gs>
            <a:gs pos="75000">
              <a:schemeClr val="phClr">
                <a:shade val="30000"/>
                <a:satMod val="175000"/>
              </a:schemeClr>
            </a:gs>
            <a:gs pos="100000">
              <a:schemeClr val="phClr">
                <a:shade val="15000"/>
                <a:satMod val="175000"/>
              </a:schemeClr>
            </a:gs>
          </a:gsLst>
          <a:path path="circle">
            <a:fillToRect l="5000" t="100000" r="120000" b="10000"/>
          </a:path>
        </a:gradFill>
      </a:fillStyleLst>
      <a:lnStyleLst>
        <a:ln w="12700" cap="flat" cmpd="sng" algn="ctr">
          <a:solidFill>
            <a:schemeClr val="phClr">
              <a:shade val="70000"/>
              <a:satMod val="15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492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0"/>
            </a:lightRig>
          </a:scene3d>
          <a:sp3d>
            <a:bevelT w="47625" h="69850"/>
            <a:contourClr>
              <a:schemeClr val="lt1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8000"/>
                <a:satMod val="125000"/>
              </a:schemeClr>
            </a:gs>
            <a:gs pos="40000">
              <a:schemeClr val="phClr">
                <a:tint val="90000"/>
                <a:shade val="90000"/>
                <a:satMod val="120000"/>
              </a:schemeClr>
            </a:gs>
            <a:gs pos="100000">
              <a:schemeClr val="phClr">
                <a:tint val="5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80000"/>
              </a:schemeClr>
              <a:schemeClr val="phClr">
                <a:tint val="91000"/>
              </a:schemeClr>
            </a:duotone>
          </a:blip>
          <a:tile tx="0" ty="0" sx="40000" sy="50000" flip="y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KMUTT Slide tha">
  <a:themeElements>
    <a:clrScheme name="KMUT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4612"/>
      </a:accent1>
      <a:accent2>
        <a:srgbClr val="FF8665"/>
      </a:accent2>
      <a:accent3>
        <a:srgbClr val="FFC627"/>
      </a:accent3>
      <a:accent4>
        <a:srgbClr val="FFDD7D"/>
      </a:accent4>
      <a:accent5>
        <a:srgbClr val="58595B"/>
      </a:accent5>
      <a:accent6>
        <a:srgbClr val="A4A5A6"/>
      </a:accent6>
      <a:hlink>
        <a:srgbClr val="FF4602"/>
      </a:hlink>
      <a:folHlink>
        <a:srgbClr val="999A9D"/>
      </a:folHlink>
    </a:clrScheme>
    <a:fontScheme name="KMUTT">
      <a:majorFont>
        <a:latin typeface="Open Sans"/>
        <a:ea typeface=""/>
        <a:cs typeface="Quark"/>
      </a:majorFont>
      <a:minorFont>
        <a:latin typeface="Open Sans"/>
        <a:ea typeface=""/>
        <a:cs typeface="TH Sarabun New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KMUTT Slide tha">
  <a:themeElements>
    <a:clrScheme name="KMUT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4612"/>
      </a:accent1>
      <a:accent2>
        <a:srgbClr val="FF8665"/>
      </a:accent2>
      <a:accent3>
        <a:srgbClr val="FFC627"/>
      </a:accent3>
      <a:accent4>
        <a:srgbClr val="FFDD7D"/>
      </a:accent4>
      <a:accent5>
        <a:srgbClr val="58595B"/>
      </a:accent5>
      <a:accent6>
        <a:srgbClr val="A4A5A6"/>
      </a:accent6>
      <a:hlink>
        <a:srgbClr val="FF4602"/>
      </a:hlink>
      <a:folHlink>
        <a:srgbClr val="999A9D"/>
      </a:folHlink>
    </a:clrScheme>
    <a:fontScheme name="KMUTT">
      <a:majorFont>
        <a:latin typeface="Open Sans"/>
        <a:ea typeface=""/>
        <a:cs typeface="Quark"/>
      </a:majorFont>
      <a:minorFont>
        <a:latin typeface="Open Sans"/>
        <a:ea typeface=""/>
        <a:cs typeface="TH Sarabun New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ธีมของ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เฉลียง">
    <a:dk1>
      <a:sysClr val="windowText" lastClr="000000"/>
    </a:dk1>
    <a:lt1>
      <a:sysClr val="window" lastClr="FFFFFF"/>
    </a:lt1>
    <a:dk2>
      <a:srgbClr val="575F6D"/>
    </a:dk2>
    <a:lt2>
      <a:srgbClr val="FFF39D"/>
    </a:lt2>
    <a:accent1>
      <a:srgbClr val="FE8637"/>
    </a:accent1>
    <a:accent2>
      <a:srgbClr val="7598D9"/>
    </a:accent2>
    <a:accent3>
      <a:srgbClr val="B32C16"/>
    </a:accent3>
    <a:accent4>
      <a:srgbClr val="F5CD2D"/>
    </a:accent4>
    <a:accent5>
      <a:srgbClr val="AEBAD5"/>
    </a:accent5>
    <a:accent6>
      <a:srgbClr val="777C84"/>
    </a:accent6>
    <a:hlink>
      <a:srgbClr val="D2611C"/>
    </a:hlink>
    <a:folHlink>
      <a:srgbClr val="3B435B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65</TotalTime>
  <Words>2986</Words>
  <Application>Microsoft Office PowerPoint</Application>
  <PresentationFormat>นำเสนอทางหน้าจอ (4:3)</PresentationFormat>
  <Paragraphs>332</Paragraphs>
  <Slides>22</Slides>
  <Notes>5</Notes>
  <HiddenSlides>0</HiddenSlides>
  <MMClips>0</MMClips>
  <ScaleCrop>false</ScaleCrop>
  <HeadingPairs>
    <vt:vector size="8" baseType="variant">
      <vt:variant>
        <vt:lpstr>ฟอนต์ที่ถูกใช้</vt:lpstr>
      </vt:variant>
      <vt:variant>
        <vt:i4>22</vt:i4>
      </vt:variant>
      <vt:variant>
        <vt:lpstr>ธีม</vt:lpstr>
      </vt:variant>
      <vt:variant>
        <vt:i4>6</vt:i4>
      </vt:variant>
      <vt:variant>
        <vt:lpstr>เซิร์ฟเวอร์ OLE ฝังตัว</vt:lpstr>
      </vt:variant>
      <vt:variant>
        <vt:i4>1</vt:i4>
      </vt:variant>
      <vt:variant>
        <vt:lpstr>ชื่อเรื่องสไลด์</vt:lpstr>
      </vt:variant>
      <vt:variant>
        <vt:i4>22</vt:i4>
      </vt:variant>
    </vt:vector>
  </HeadingPairs>
  <TitlesOfParts>
    <vt:vector size="51" baseType="lpstr">
      <vt:lpstr>Andalus</vt:lpstr>
      <vt:lpstr>Angsana New</vt:lpstr>
      <vt:lpstr>Angsana News</vt:lpstr>
      <vt:lpstr>AngsanaUPC</vt:lpstr>
      <vt:lpstr>Arial</vt:lpstr>
      <vt:lpstr>Browallia New</vt:lpstr>
      <vt:lpstr>BrowalliaUPC</vt:lpstr>
      <vt:lpstr>Calibri</vt:lpstr>
      <vt:lpstr>Century Schoolbook</vt:lpstr>
      <vt:lpstr>Cordia New</vt:lpstr>
      <vt:lpstr>Haettenschweiler</vt:lpstr>
      <vt:lpstr>KodchiangUPC</vt:lpstr>
      <vt:lpstr>LilyUPC</vt:lpstr>
      <vt:lpstr>Open Sans</vt:lpstr>
      <vt:lpstr>Quark</vt:lpstr>
      <vt:lpstr>Tahoma</vt:lpstr>
      <vt:lpstr>TH Niramit AS</vt:lpstr>
      <vt:lpstr>TH Sarabun New</vt:lpstr>
      <vt:lpstr>TH SarabunPSK</vt:lpstr>
      <vt:lpstr>Times New Roman</vt:lpstr>
      <vt:lpstr>Wingdings</vt:lpstr>
      <vt:lpstr>Wingdings 2</vt:lpstr>
      <vt:lpstr>1_KMUTT Slide tha</vt:lpstr>
      <vt:lpstr>5_Office Theme</vt:lpstr>
      <vt:lpstr>1_ชุดรูปแบบของ Office</vt:lpstr>
      <vt:lpstr>เฉลียง</vt:lpstr>
      <vt:lpstr>2_KMUTT Slide tha</vt:lpstr>
      <vt:lpstr>KMUTT Slide tha</vt:lpstr>
      <vt:lpstr>think-cell Slide</vt:lpstr>
      <vt:lpstr>งานนำเสนอ PowerPoint</vt:lpstr>
      <vt:lpstr>ข้อสังเกต/ คำถาม</vt:lpstr>
      <vt:lpstr>งานนำเสนอ PowerPoint</vt:lpstr>
      <vt:lpstr>งานนำเสนอ PowerPoint</vt:lpstr>
      <vt:lpstr>งานนำเสนอ PowerPoint</vt:lpstr>
      <vt:lpstr>ประเด็นยุทธศาสตร์</vt:lpstr>
      <vt:lpstr>เป้าประสงค์</vt:lpstr>
      <vt:lpstr>เป้าประสงค์</vt:lpstr>
      <vt:lpstr>เป้าประสงค์ (จัดกลุ่ม)</vt:lpstr>
      <vt:lpstr>งานนำเสนอ PowerPoint</vt:lpstr>
      <vt:lpstr>หากท่านเป็นนักลงทุนต่างชาติ จะมาลงทุนที่ประเทศไทย เพราะเหตุผลดังนี้?</vt:lpstr>
      <vt:lpstr>หากท่านเป็นนักลงทุนต่างชาติ จะมาลงทุนที่ประเทศไทย เพราะเหตุผลดังนี้?</vt:lpstr>
      <vt:lpstr>งานนำเสนอ PowerPoint</vt:lpstr>
      <vt:lpstr>งานนำเสนอ PowerPoint</vt:lpstr>
      <vt:lpstr>งานนำเสนอ PowerPoint</vt:lpstr>
      <vt:lpstr>งานนำเสนอ PowerPoint</vt:lpstr>
      <vt:lpstr>งานนำเสนอ PowerPoint</vt:lpstr>
      <vt:lpstr>งานนำเสนอ PowerPoint</vt:lpstr>
      <vt:lpstr>งานนำเสนอ PowerPoint</vt:lpstr>
      <vt:lpstr>งานนำเสนอ PowerPoint</vt:lpstr>
      <vt:lpstr>งานนำเสนอ PowerPoint</vt:lpstr>
      <vt:lpstr>งานนำเสนอ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wanee Wongchan</dc:creator>
  <cp:lastModifiedBy>Acer</cp:lastModifiedBy>
  <cp:revision>124</cp:revision>
  <cp:lastPrinted>2019-03-06T03:35:06Z</cp:lastPrinted>
  <dcterms:created xsi:type="dcterms:W3CDTF">2019-03-05T06:53:56Z</dcterms:created>
  <dcterms:modified xsi:type="dcterms:W3CDTF">2019-03-06T04:25:57Z</dcterms:modified>
</cp:coreProperties>
</file>